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heme/theme3.xml" ContentType="application/vnd.openxmlformats-officedocument.theme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heme/theme4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2" r:id="rId4"/>
    <p:sldMasterId id="2147483907" r:id="rId5"/>
  </p:sldMasterIdLst>
  <p:notesMasterIdLst>
    <p:notesMasterId r:id="rId15"/>
  </p:notesMasterIdLst>
  <p:handoutMasterIdLst>
    <p:handoutMasterId r:id="rId16"/>
  </p:handoutMasterIdLst>
  <p:sldIdLst>
    <p:sldId id="511" r:id="rId6"/>
    <p:sldId id="510" r:id="rId7"/>
    <p:sldId id="318" r:id="rId8"/>
    <p:sldId id="316" r:id="rId9"/>
    <p:sldId id="321" r:id="rId10"/>
    <p:sldId id="372" r:id="rId11"/>
    <p:sldId id="390" r:id="rId12"/>
    <p:sldId id="513" r:id="rId13"/>
    <p:sldId id="392" r:id="rId14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71" clrIdx="0">
    <p:extLst>
      <p:ext uri="{19B8F6BF-5375-455C-9EA6-DF929625EA0E}">
        <p15:presenceInfo xmlns:p15="http://schemas.microsoft.com/office/powerpoint/2012/main" userId="Christina Drimm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5C4"/>
    <a:srgbClr val="262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55F546-C93B-45EB-B9DE-8FC7C80A8830}" v="32" dt="2025-09-17T05:24:06.7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57" autoAdjust="0"/>
  </p:normalViewPr>
  <p:slideViewPr>
    <p:cSldViewPr snapToGrid="0">
      <p:cViewPr varScale="1">
        <p:scale>
          <a:sx n="130" d="100"/>
          <a:sy n="130" d="100"/>
        </p:scale>
        <p:origin x="7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e Navratilova" userId="2fe17520-6eaf-451d-b6ca-936bf05b64b6" providerId="ADAL" clId="{A155F546-C93B-45EB-B9DE-8FC7C80A8830}"/>
    <pc:docChg chg="undo redo custSel addSld delSld modSld sldOrd">
      <pc:chgData name="Natalie Navratilova" userId="2fe17520-6eaf-451d-b6ca-936bf05b64b6" providerId="ADAL" clId="{A155F546-C93B-45EB-B9DE-8FC7C80A8830}" dt="2025-09-17T11:25:14.971" v="1078" actId="1076"/>
      <pc:docMkLst>
        <pc:docMk/>
      </pc:docMkLst>
      <pc:sldChg chg="addSp modSp mod">
        <pc:chgData name="Natalie Navratilova" userId="2fe17520-6eaf-451d-b6ca-936bf05b64b6" providerId="ADAL" clId="{A155F546-C93B-45EB-B9DE-8FC7C80A8830}" dt="2025-09-17T11:24:48.131" v="1076" actId="14100"/>
        <pc:sldMkLst>
          <pc:docMk/>
          <pc:sldMk cId="2072895289" sldId="316"/>
        </pc:sldMkLst>
        <pc:spChg chg="add mod">
          <ac:chgData name="Natalie Navratilova" userId="2fe17520-6eaf-451d-b6ca-936bf05b64b6" providerId="ADAL" clId="{A155F546-C93B-45EB-B9DE-8FC7C80A8830}" dt="2025-09-17T11:24:48.131" v="1076" actId="14100"/>
          <ac:spMkLst>
            <pc:docMk/>
            <pc:sldMk cId="2072895289" sldId="316"/>
            <ac:spMk id="20" creationId="{4072D7B1-5E64-D16A-BE97-033E7172F2E5}"/>
          </ac:spMkLst>
        </pc:spChg>
        <pc:spChg chg="add mod">
          <ac:chgData name="Natalie Navratilova" userId="2fe17520-6eaf-451d-b6ca-936bf05b64b6" providerId="ADAL" clId="{A155F546-C93B-45EB-B9DE-8FC7C80A8830}" dt="2025-09-16T11:32:40.627" v="75" actId="1076"/>
          <ac:spMkLst>
            <pc:docMk/>
            <pc:sldMk cId="2072895289" sldId="316"/>
            <ac:spMk id="21" creationId="{9951B883-D153-3C9D-5482-DFDC94B3BAD1}"/>
          </ac:spMkLst>
        </pc:spChg>
        <pc:picChg chg="mod">
          <ac:chgData name="Natalie Navratilova" userId="2fe17520-6eaf-451d-b6ca-936bf05b64b6" providerId="ADAL" clId="{A155F546-C93B-45EB-B9DE-8FC7C80A8830}" dt="2025-09-16T11:31:09.749" v="11" actId="14100"/>
          <ac:picMkLst>
            <pc:docMk/>
            <pc:sldMk cId="2072895289" sldId="316"/>
            <ac:picMk id="19" creationId="{7397D3D6-341B-E8DE-EDE2-1C22C805A4B2}"/>
          </ac:picMkLst>
        </pc:picChg>
      </pc:sldChg>
      <pc:sldChg chg="modSp mod">
        <pc:chgData name="Natalie Navratilova" userId="2fe17520-6eaf-451d-b6ca-936bf05b64b6" providerId="ADAL" clId="{A155F546-C93B-45EB-B9DE-8FC7C80A8830}" dt="2025-09-17T11:17:53.447" v="1039" actId="20577"/>
        <pc:sldMkLst>
          <pc:docMk/>
          <pc:sldMk cId="1496982438" sldId="321"/>
        </pc:sldMkLst>
        <pc:spChg chg="mod">
          <ac:chgData name="Natalie Navratilova" userId="2fe17520-6eaf-451d-b6ca-936bf05b64b6" providerId="ADAL" clId="{A155F546-C93B-45EB-B9DE-8FC7C80A8830}" dt="2025-09-17T11:17:53.447" v="1039" actId="20577"/>
          <ac:spMkLst>
            <pc:docMk/>
            <pc:sldMk cId="1496982438" sldId="321"/>
            <ac:spMk id="7" creationId="{0C557D1A-26B7-DDB7-C965-D72934D75D29}"/>
          </ac:spMkLst>
        </pc:spChg>
        <pc:spChg chg="mod">
          <ac:chgData name="Natalie Navratilova" userId="2fe17520-6eaf-451d-b6ca-936bf05b64b6" providerId="ADAL" clId="{A155F546-C93B-45EB-B9DE-8FC7C80A8830}" dt="2025-09-16T11:34:26.217" v="81" actId="1076"/>
          <ac:spMkLst>
            <pc:docMk/>
            <pc:sldMk cId="1496982438" sldId="321"/>
            <ac:spMk id="12" creationId="{934522FA-D32D-C563-D4E3-EF9450B68F97}"/>
          </ac:spMkLst>
        </pc:spChg>
        <pc:spChg chg="mod">
          <ac:chgData name="Natalie Navratilova" userId="2fe17520-6eaf-451d-b6ca-936bf05b64b6" providerId="ADAL" clId="{A155F546-C93B-45EB-B9DE-8FC7C80A8830}" dt="2025-09-16T11:34:24.711" v="80" actId="1076"/>
          <ac:spMkLst>
            <pc:docMk/>
            <pc:sldMk cId="1496982438" sldId="321"/>
            <ac:spMk id="13" creationId="{FAD41AD0-5CE4-290D-5B50-1B68158469C2}"/>
          </ac:spMkLst>
        </pc:spChg>
        <pc:spChg chg="mod">
          <ac:chgData name="Natalie Navratilova" userId="2fe17520-6eaf-451d-b6ca-936bf05b64b6" providerId="ADAL" clId="{A155F546-C93B-45EB-B9DE-8FC7C80A8830}" dt="2025-09-16T11:34:30.881" v="83" actId="1076"/>
          <ac:spMkLst>
            <pc:docMk/>
            <pc:sldMk cId="1496982438" sldId="321"/>
            <ac:spMk id="19" creationId="{766B896D-5888-1B18-665F-FA209FD722D3}"/>
          </ac:spMkLst>
        </pc:spChg>
        <pc:spChg chg="mod">
          <ac:chgData name="Natalie Navratilova" userId="2fe17520-6eaf-451d-b6ca-936bf05b64b6" providerId="ADAL" clId="{A155F546-C93B-45EB-B9DE-8FC7C80A8830}" dt="2025-09-16T11:34:29.310" v="82" actId="1076"/>
          <ac:spMkLst>
            <pc:docMk/>
            <pc:sldMk cId="1496982438" sldId="321"/>
            <ac:spMk id="21" creationId="{58758069-5E5C-1659-E599-5FB1BDEEDAAD}"/>
          </ac:spMkLst>
        </pc:spChg>
        <pc:spChg chg="mod">
          <ac:chgData name="Natalie Navratilova" userId="2fe17520-6eaf-451d-b6ca-936bf05b64b6" providerId="ADAL" clId="{A155F546-C93B-45EB-B9DE-8FC7C80A8830}" dt="2025-09-16T11:34:38.824" v="86" actId="1076"/>
          <ac:spMkLst>
            <pc:docMk/>
            <pc:sldMk cId="1496982438" sldId="321"/>
            <ac:spMk id="23" creationId="{7875A8C6-FB68-B60B-8FB8-28E25D6C8098}"/>
          </ac:spMkLst>
        </pc:spChg>
        <pc:spChg chg="mod">
          <ac:chgData name="Natalie Navratilova" userId="2fe17520-6eaf-451d-b6ca-936bf05b64b6" providerId="ADAL" clId="{A155F546-C93B-45EB-B9DE-8FC7C80A8830}" dt="2025-09-16T11:34:36.418" v="85" actId="1076"/>
          <ac:spMkLst>
            <pc:docMk/>
            <pc:sldMk cId="1496982438" sldId="321"/>
            <ac:spMk id="25" creationId="{B236293B-686B-9085-8268-0128EA16866E}"/>
          </ac:spMkLst>
        </pc:spChg>
        <pc:spChg chg="mod">
          <ac:chgData name="Natalie Navratilova" userId="2fe17520-6eaf-451d-b6ca-936bf05b64b6" providerId="ADAL" clId="{A155F546-C93B-45EB-B9DE-8FC7C80A8830}" dt="2025-09-17T11:17:49.497" v="1038" actId="20577"/>
          <ac:spMkLst>
            <pc:docMk/>
            <pc:sldMk cId="1496982438" sldId="321"/>
            <ac:spMk id="27" creationId="{2C2C5B83-E521-9C62-E90B-9BDA57B1C6B8}"/>
          </ac:spMkLst>
        </pc:spChg>
        <pc:picChg chg="mod">
          <ac:chgData name="Natalie Navratilova" userId="2fe17520-6eaf-451d-b6ca-936bf05b64b6" providerId="ADAL" clId="{A155F546-C93B-45EB-B9DE-8FC7C80A8830}" dt="2025-09-17T05:19:41.304" v="946" actId="1076"/>
          <ac:picMkLst>
            <pc:docMk/>
            <pc:sldMk cId="1496982438" sldId="321"/>
            <ac:picMk id="33" creationId="{943DD8FD-5886-FA25-DA6D-AD3DA8B9163E}"/>
          </ac:picMkLst>
        </pc:picChg>
      </pc:sldChg>
      <pc:sldChg chg="addSp delSp modSp mod ord">
        <pc:chgData name="Natalie Navratilova" userId="2fe17520-6eaf-451d-b6ca-936bf05b64b6" providerId="ADAL" clId="{A155F546-C93B-45EB-B9DE-8FC7C80A8830}" dt="2025-09-17T11:25:14.971" v="1078" actId="1076"/>
        <pc:sldMkLst>
          <pc:docMk/>
          <pc:sldMk cId="1871366432" sldId="372"/>
        </pc:sldMkLst>
        <pc:spChg chg="add del mod">
          <ac:chgData name="Natalie Navratilova" userId="2fe17520-6eaf-451d-b6ca-936bf05b64b6" providerId="ADAL" clId="{A155F546-C93B-45EB-B9DE-8FC7C80A8830}" dt="2025-09-16T13:37:23.395" v="855"/>
          <ac:spMkLst>
            <pc:docMk/>
            <pc:sldMk cId="1871366432" sldId="372"/>
            <ac:spMk id="2" creationId="{0B7303D3-DB2A-4491-5BB4-94D3FB62A6DB}"/>
          </ac:spMkLst>
        </pc:spChg>
        <pc:spChg chg="mod">
          <ac:chgData name="Natalie Navratilova" userId="2fe17520-6eaf-451d-b6ca-936bf05b64b6" providerId="ADAL" clId="{A155F546-C93B-45EB-B9DE-8FC7C80A8830}" dt="2025-09-17T11:15:05.964" v="1010" actId="20577"/>
          <ac:spMkLst>
            <pc:docMk/>
            <pc:sldMk cId="1871366432" sldId="372"/>
            <ac:spMk id="11" creationId="{EA48B843-9DEA-F620-4652-910BE4A216A0}"/>
          </ac:spMkLst>
        </pc:spChg>
        <pc:spChg chg="mod">
          <ac:chgData name="Natalie Navratilova" userId="2fe17520-6eaf-451d-b6ca-936bf05b64b6" providerId="ADAL" clId="{A155F546-C93B-45EB-B9DE-8FC7C80A8830}" dt="2025-09-17T11:25:14.971" v="1078" actId="1076"/>
          <ac:spMkLst>
            <pc:docMk/>
            <pc:sldMk cId="1871366432" sldId="372"/>
            <ac:spMk id="19" creationId="{C0E9D7FA-2E02-57FB-EAFA-7E5CA69C860D}"/>
          </ac:spMkLst>
        </pc:spChg>
        <pc:spChg chg="mod">
          <ac:chgData name="Natalie Navratilova" userId="2fe17520-6eaf-451d-b6ca-936bf05b64b6" providerId="ADAL" clId="{A155F546-C93B-45EB-B9DE-8FC7C80A8830}" dt="2025-09-17T11:25:11.342" v="1077" actId="14100"/>
          <ac:spMkLst>
            <pc:docMk/>
            <pc:sldMk cId="1871366432" sldId="372"/>
            <ac:spMk id="20" creationId="{130AB36D-8496-678B-3731-B4E7C123E4A4}"/>
          </ac:spMkLst>
        </pc:spChg>
        <pc:picChg chg="mod">
          <ac:chgData name="Natalie Navratilova" userId="2fe17520-6eaf-451d-b6ca-936bf05b64b6" providerId="ADAL" clId="{A155F546-C93B-45EB-B9DE-8FC7C80A8830}" dt="2025-09-16T13:16:45.460" v="597" actId="14100"/>
          <ac:picMkLst>
            <pc:docMk/>
            <pc:sldMk cId="1871366432" sldId="372"/>
            <ac:picMk id="1026" creationId="{0CBDDBCA-96A2-7605-62A4-07B19A3769C0}"/>
          </ac:picMkLst>
        </pc:picChg>
      </pc:sldChg>
      <pc:sldChg chg="addSp delSp modSp mod ord">
        <pc:chgData name="Natalie Navratilova" userId="2fe17520-6eaf-451d-b6ca-936bf05b64b6" providerId="ADAL" clId="{A155F546-C93B-45EB-B9DE-8FC7C80A8830}" dt="2025-09-16T13:55:50.944" v="933"/>
        <pc:sldMkLst>
          <pc:docMk/>
          <pc:sldMk cId="2608446141" sldId="390"/>
        </pc:sldMkLst>
        <pc:spChg chg="add mod ord">
          <ac:chgData name="Natalie Navratilova" userId="2fe17520-6eaf-451d-b6ca-936bf05b64b6" providerId="ADAL" clId="{A155F546-C93B-45EB-B9DE-8FC7C80A8830}" dt="2025-09-16T13:35:03.417" v="833" actId="208"/>
          <ac:spMkLst>
            <pc:docMk/>
            <pc:sldMk cId="2608446141" sldId="390"/>
            <ac:spMk id="4" creationId="{F5ABBB01-84F7-26B3-693B-A1832693F7C6}"/>
          </ac:spMkLst>
        </pc:spChg>
        <pc:spChg chg="add mod ord">
          <ac:chgData name="Natalie Navratilova" userId="2fe17520-6eaf-451d-b6ca-936bf05b64b6" providerId="ADAL" clId="{A155F546-C93B-45EB-B9DE-8FC7C80A8830}" dt="2025-09-16T13:48:23.696" v="931" actId="1076"/>
          <ac:spMkLst>
            <pc:docMk/>
            <pc:sldMk cId="2608446141" sldId="390"/>
            <ac:spMk id="6" creationId="{A1CE0F94-B8BD-D148-BDD9-3C6CD0DD8355}"/>
          </ac:spMkLst>
        </pc:spChg>
        <pc:spChg chg="add del mod">
          <ac:chgData name="Natalie Navratilova" userId="2fe17520-6eaf-451d-b6ca-936bf05b64b6" providerId="ADAL" clId="{A155F546-C93B-45EB-B9DE-8FC7C80A8830}" dt="2025-09-16T13:34:07.155" v="822" actId="478"/>
          <ac:spMkLst>
            <pc:docMk/>
            <pc:sldMk cId="2608446141" sldId="390"/>
            <ac:spMk id="8" creationId="{691824AC-DFCA-9E1E-FFCB-762764B15756}"/>
          </ac:spMkLst>
        </pc:spChg>
        <pc:spChg chg="del mod ord">
          <ac:chgData name="Natalie Navratilova" userId="2fe17520-6eaf-451d-b6ca-936bf05b64b6" providerId="ADAL" clId="{A155F546-C93B-45EB-B9DE-8FC7C80A8830}" dt="2025-09-16T13:34:16.004" v="824" actId="478"/>
          <ac:spMkLst>
            <pc:docMk/>
            <pc:sldMk cId="2608446141" sldId="390"/>
            <ac:spMk id="11" creationId="{EA48B843-9DEA-F620-4652-910BE4A216A0}"/>
          </ac:spMkLst>
        </pc:spChg>
        <pc:picChg chg="mod">
          <ac:chgData name="Natalie Navratilova" userId="2fe17520-6eaf-451d-b6ca-936bf05b64b6" providerId="ADAL" clId="{A155F546-C93B-45EB-B9DE-8FC7C80A8830}" dt="2025-09-16T13:34:32.904" v="829" actId="14100"/>
          <ac:picMkLst>
            <pc:docMk/>
            <pc:sldMk cId="2608446141" sldId="390"/>
            <ac:picMk id="2" creationId="{EB15E3DB-A5CD-6975-4752-A919055C9801}"/>
          </ac:picMkLst>
        </pc:picChg>
        <pc:picChg chg="add mod">
          <ac:chgData name="Natalie Navratilova" userId="2fe17520-6eaf-451d-b6ca-936bf05b64b6" providerId="ADAL" clId="{A155F546-C93B-45EB-B9DE-8FC7C80A8830}" dt="2025-09-16T13:34:37.170" v="830" actId="14100"/>
          <ac:picMkLst>
            <pc:docMk/>
            <pc:sldMk cId="2608446141" sldId="390"/>
            <ac:picMk id="7" creationId="{821FAE32-5786-095A-B92C-51D9774656DF}"/>
          </ac:picMkLst>
        </pc:picChg>
        <pc:picChg chg="add mod ord modCrop">
          <ac:chgData name="Natalie Navratilova" userId="2fe17520-6eaf-451d-b6ca-936bf05b64b6" providerId="ADAL" clId="{A155F546-C93B-45EB-B9DE-8FC7C80A8830}" dt="2025-09-16T13:35:49.283" v="839" actId="732"/>
          <ac:picMkLst>
            <pc:docMk/>
            <pc:sldMk cId="2608446141" sldId="390"/>
            <ac:picMk id="10" creationId="{10E58BB5-7579-AF83-9F8E-CF6EAC49CBB6}"/>
          </ac:picMkLst>
        </pc:picChg>
      </pc:sldChg>
      <pc:sldChg chg="modSp del mod">
        <pc:chgData name="Natalie Navratilova" userId="2fe17520-6eaf-451d-b6ca-936bf05b64b6" providerId="ADAL" clId="{A155F546-C93B-45EB-B9DE-8FC7C80A8830}" dt="2025-09-16T13:04:50.104" v="463" actId="47"/>
        <pc:sldMkLst>
          <pc:docMk/>
          <pc:sldMk cId="876605795" sldId="391"/>
        </pc:sldMkLst>
        <pc:picChg chg="mod">
          <ac:chgData name="Natalie Navratilova" userId="2fe17520-6eaf-451d-b6ca-936bf05b64b6" providerId="ADAL" clId="{A155F546-C93B-45EB-B9DE-8FC7C80A8830}" dt="2025-09-16T11:35:30.301" v="95" actId="14100"/>
          <ac:picMkLst>
            <pc:docMk/>
            <pc:sldMk cId="876605795" sldId="391"/>
            <ac:picMk id="2" creationId="{42452E04-D3ED-9232-9B8B-F513521785D6}"/>
          </ac:picMkLst>
        </pc:picChg>
      </pc:sldChg>
      <pc:sldChg chg="delSp modSp mod">
        <pc:chgData name="Natalie Navratilova" userId="2fe17520-6eaf-451d-b6ca-936bf05b64b6" providerId="ADAL" clId="{A155F546-C93B-45EB-B9DE-8FC7C80A8830}" dt="2025-09-16T11:30:04.506" v="8" actId="14100"/>
        <pc:sldMkLst>
          <pc:docMk/>
          <pc:sldMk cId="3406355377" sldId="392"/>
        </pc:sldMkLst>
        <pc:spChg chg="del">
          <ac:chgData name="Natalie Navratilova" userId="2fe17520-6eaf-451d-b6ca-936bf05b64b6" providerId="ADAL" clId="{A155F546-C93B-45EB-B9DE-8FC7C80A8830}" dt="2025-09-16T11:29:20.556" v="5" actId="478"/>
          <ac:spMkLst>
            <pc:docMk/>
            <pc:sldMk cId="3406355377" sldId="392"/>
            <ac:spMk id="2" creationId="{B4076DEA-E9C4-AC78-11B9-757391DDBED4}"/>
          </ac:spMkLst>
        </pc:spChg>
        <pc:picChg chg="mod">
          <ac:chgData name="Natalie Navratilova" userId="2fe17520-6eaf-451d-b6ca-936bf05b64b6" providerId="ADAL" clId="{A155F546-C93B-45EB-B9DE-8FC7C80A8830}" dt="2025-09-16T11:30:04.506" v="8" actId="14100"/>
          <ac:picMkLst>
            <pc:docMk/>
            <pc:sldMk cId="3406355377" sldId="392"/>
            <ac:picMk id="11" creationId="{6238592B-F047-0EB4-FDEC-007FA6470E4E}"/>
          </ac:picMkLst>
        </pc:picChg>
      </pc:sldChg>
      <pc:sldChg chg="modSp mod">
        <pc:chgData name="Natalie Navratilova" userId="2fe17520-6eaf-451d-b6ca-936bf05b64b6" providerId="ADAL" clId="{A155F546-C93B-45EB-B9DE-8FC7C80A8830}" dt="2025-09-17T11:14:08.050" v="995" actId="20577"/>
        <pc:sldMkLst>
          <pc:docMk/>
          <pc:sldMk cId="1248761587" sldId="510"/>
        </pc:sldMkLst>
        <pc:spChg chg="mod">
          <ac:chgData name="Natalie Navratilova" userId="2fe17520-6eaf-451d-b6ca-936bf05b64b6" providerId="ADAL" clId="{A155F546-C93B-45EB-B9DE-8FC7C80A8830}" dt="2025-09-16T12:47:37.961" v="378" actId="1076"/>
          <ac:spMkLst>
            <pc:docMk/>
            <pc:sldMk cId="1248761587" sldId="510"/>
            <ac:spMk id="2" creationId="{E410B012-14FD-41F3-5A18-DD7734002290}"/>
          </ac:spMkLst>
        </pc:spChg>
        <pc:spChg chg="mod">
          <ac:chgData name="Natalie Navratilova" userId="2fe17520-6eaf-451d-b6ca-936bf05b64b6" providerId="ADAL" clId="{A155F546-C93B-45EB-B9DE-8FC7C80A8830}" dt="2025-09-16T12:48:30.857" v="382" actId="208"/>
          <ac:spMkLst>
            <pc:docMk/>
            <pc:sldMk cId="1248761587" sldId="510"/>
            <ac:spMk id="8" creationId="{4F22E0B4-55B7-4875-830F-8E4B029C80A2}"/>
          </ac:spMkLst>
        </pc:spChg>
        <pc:spChg chg="mod">
          <ac:chgData name="Natalie Navratilova" userId="2fe17520-6eaf-451d-b6ca-936bf05b64b6" providerId="ADAL" clId="{A155F546-C93B-45EB-B9DE-8FC7C80A8830}" dt="2025-09-17T11:14:08.050" v="995" actId="20577"/>
          <ac:spMkLst>
            <pc:docMk/>
            <pc:sldMk cId="1248761587" sldId="510"/>
            <ac:spMk id="9" creationId="{41BEA01E-4C9F-4C9A-A05D-62D557B626C3}"/>
          </ac:spMkLst>
        </pc:spChg>
      </pc:sldChg>
      <pc:sldChg chg="modSp mod">
        <pc:chgData name="Natalie Navratilova" userId="2fe17520-6eaf-451d-b6ca-936bf05b64b6" providerId="ADAL" clId="{A155F546-C93B-45EB-B9DE-8FC7C80A8830}" dt="2025-09-16T11:30:13.371" v="10" actId="14100"/>
        <pc:sldMkLst>
          <pc:docMk/>
          <pc:sldMk cId="4290510201" sldId="511"/>
        </pc:sldMkLst>
        <pc:picChg chg="mod">
          <ac:chgData name="Natalie Navratilova" userId="2fe17520-6eaf-451d-b6ca-936bf05b64b6" providerId="ADAL" clId="{A155F546-C93B-45EB-B9DE-8FC7C80A8830}" dt="2025-09-16T11:30:13.371" v="10" actId="14100"/>
          <ac:picMkLst>
            <pc:docMk/>
            <pc:sldMk cId="4290510201" sldId="511"/>
            <ac:picMk id="7" creationId="{C06054D2-BC43-09F7-84F7-67E5E8B9B332}"/>
          </ac:picMkLst>
        </pc:picChg>
      </pc:sldChg>
      <pc:sldChg chg="addSp delSp modSp new del mod">
        <pc:chgData name="Natalie Navratilova" userId="2fe17520-6eaf-451d-b6ca-936bf05b64b6" providerId="ADAL" clId="{A155F546-C93B-45EB-B9DE-8FC7C80A8830}" dt="2025-09-16T13:33:40.093" v="814" actId="2696"/>
        <pc:sldMkLst>
          <pc:docMk/>
          <pc:sldMk cId="3343631431" sldId="512"/>
        </pc:sldMkLst>
        <pc:spChg chg="del">
          <ac:chgData name="Natalie Navratilova" userId="2fe17520-6eaf-451d-b6ca-936bf05b64b6" providerId="ADAL" clId="{A155F546-C93B-45EB-B9DE-8FC7C80A8830}" dt="2025-09-16T12:31:51.990" v="169" actId="478"/>
          <ac:spMkLst>
            <pc:docMk/>
            <pc:sldMk cId="3343631431" sldId="512"/>
            <ac:spMk id="2" creationId="{A043D59D-FC8D-FF51-1BC6-A9838CCAB0B1}"/>
          </ac:spMkLst>
        </pc:spChg>
        <pc:spChg chg="del mod">
          <ac:chgData name="Natalie Navratilova" userId="2fe17520-6eaf-451d-b6ca-936bf05b64b6" providerId="ADAL" clId="{A155F546-C93B-45EB-B9DE-8FC7C80A8830}" dt="2025-09-16T13:17:38.517" v="601" actId="478"/>
          <ac:spMkLst>
            <pc:docMk/>
            <pc:sldMk cId="3343631431" sldId="512"/>
            <ac:spMk id="3" creationId="{BEE16518-149F-A546-7114-670201432E54}"/>
          </ac:spMkLst>
        </pc:spChg>
        <pc:spChg chg="del">
          <ac:chgData name="Natalie Navratilova" userId="2fe17520-6eaf-451d-b6ca-936bf05b64b6" providerId="ADAL" clId="{A155F546-C93B-45EB-B9DE-8FC7C80A8830}" dt="2025-09-16T12:44:00.760" v="318" actId="478"/>
          <ac:spMkLst>
            <pc:docMk/>
            <pc:sldMk cId="3343631431" sldId="512"/>
            <ac:spMk id="6" creationId="{9F6AB83D-662C-ED76-BB73-B25677A10F05}"/>
          </ac:spMkLst>
        </pc:spChg>
        <pc:spChg chg="add del mod">
          <ac:chgData name="Natalie Navratilova" userId="2fe17520-6eaf-451d-b6ca-936bf05b64b6" providerId="ADAL" clId="{A155F546-C93B-45EB-B9DE-8FC7C80A8830}" dt="2025-09-16T12:33:43.883" v="197" actId="478"/>
          <ac:spMkLst>
            <pc:docMk/>
            <pc:sldMk cId="3343631431" sldId="512"/>
            <ac:spMk id="8" creationId="{D9030535-7EC6-EBA2-AA05-36C6B1C448FE}"/>
          </ac:spMkLst>
        </pc:spChg>
        <pc:spChg chg="add del mod">
          <ac:chgData name="Natalie Navratilova" userId="2fe17520-6eaf-451d-b6ca-936bf05b64b6" providerId="ADAL" clId="{A155F546-C93B-45EB-B9DE-8FC7C80A8830}" dt="2025-09-16T12:39:38.420" v="256" actId="478"/>
          <ac:spMkLst>
            <pc:docMk/>
            <pc:sldMk cId="3343631431" sldId="512"/>
            <ac:spMk id="12" creationId="{E8F3F2D9-80E2-9F96-F5FC-F4AF5EA14EFD}"/>
          </ac:spMkLst>
        </pc:spChg>
        <pc:spChg chg="add del mod">
          <ac:chgData name="Natalie Navratilova" userId="2fe17520-6eaf-451d-b6ca-936bf05b64b6" providerId="ADAL" clId="{A155F546-C93B-45EB-B9DE-8FC7C80A8830}" dt="2025-09-16T12:34:42.670" v="202" actId="478"/>
          <ac:spMkLst>
            <pc:docMk/>
            <pc:sldMk cId="3343631431" sldId="512"/>
            <ac:spMk id="13" creationId="{D457BE97-68B5-9571-D1A7-74DE5F91E4D4}"/>
          </ac:spMkLst>
        </pc:spChg>
        <pc:spChg chg="add del mod">
          <ac:chgData name="Natalie Navratilova" userId="2fe17520-6eaf-451d-b6ca-936bf05b64b6" providerId="ADAL" clId="{A155F546-C93B-45EB-B9DE-8FC7C80A8830}" dt="2025-09-16T13:23:14.995" v="680" actId="478"/>
          <ac:spMkLst>
            <pc:docMk/>
            <pc:sldMk cId="3343631431" sldId="512"/>
            <ac:spMk id="14" creationId="{B3ECE7E0-C59F-0F8C-2B3F-4EB54772E360}"/>
          </ac:spMkLst>
        </pc:spChg>
        <pc:spChg chg="add mod ord">
          <ac:chgData name="Natalie Navratilova" userId="2fe17520-6eaf-451d-b6ca-936bf05b64b6" providerId="ADAL" clId="{A155F546-C93B-45EB-B9DE-8FC7C80A8830}" dt="2025-09-16T13:32:26.145" v="808" actId="1076"/>
          <ac:spMkLst>
            <pc:docMk/>
            <pc:sldMk cId="3343631431" sldId="512"/>
            <ac:spMk id="17" creationId="{91F7406B-DBAF-4AF9-6F47-38431FF2599D}"/>
          </ac:spMkLst>
        </pc:spChg>
        <pc:spChg chg="add del mod">
          <ac:chgData name="Natalie Navratilova" userId="2fe17520-6eaf-451d-b6ca-936bf05b64b6" providerId="ADAL" clId="{A155F546-C93B-45EB-B9DE-8FC7C80A8830}" dt="2025-09-16T12:36:57.885" v="235" actId="478"/>
          <ac:spMkLst>
            <pc:docMk/>
            <pc:sldMk cId="3343631431" sldId="512"/>
            <ac:spMk id="18" creationId="{AC290EA0-5280-13AD-1747-D35079274295}"/>
          </ac:spMkLst>
        </pc:spChg>
        <pc:spChg chg="add mod ord">
          <ac:chgData name="Natalie Navratilova" userId="2fe17520-6eaf-451d-b6ca-936bf05b64b6" providerId="ADAL" clId="{A155F546-C93B-45EB-B9DE-8FC7C80A8830}" dt="2025-09-16T13:32:22.984" v="807" actId="1076"/>
          <ac:spMkLst>
            <pc:docMk/>
            <pc:sldMk cId="3343631431" sldId="512"/>
            <ac:spMk id="19" creationId="{CD6AB563-E22C-E7CE-3324-6E29F3F5C7F4}"/>
          </ac:spMkLst>
        </pc:spChg>
        <pc:spChg chg="add del mod">
          <ac:chgData name="Natalie Navratilova" userId="2fe17520-6eaf-451d-b6ca-936bf05b64b6" providerId="ADAL" clId="{A155F546-C93B-45EB-B9DE-8FC7C80A8830}" dt="2025-09-16T12:39:23.089" v="255" actId="478"/>
          <ac:spMkLst>
            <pc:docMk/>
            <pc:sldMk cId="3343631431" sldId="512"/>
            <ac:spMk id="21" creationId="{455F6101-A62B-CAEF-E40F-EE3F5F8697A2}"/>
          </ac:spMkLst>
        </pc:spChg>
        <pc:spChg chg="add del mod">
          <ac:chgData name="Natalie Navratilova" userId="2fe17520-6eaf-451d-b6ca-936bf05b64b6" providerId="ADAL" clId="{A155F546-C93B-45EB-B9DE-8FC7C80A8830}" dt="2025-09-16T13:18:08.189" v="605" actId="478"/>
          <ac:spMkLst>
            <pc:docMk/>
            <pc:sldMk cId="3343631431" sldId="512"/>
            <ac:spMk id="24" creationId="{4F7B3DC6-D423-298F-D4C0-51A3AF0E3884}"/>
          </ac:spMkLst>
        </pc:spChg>
        <pc:spChg chg="add mod">
          <ac:chgData name="Natalie Navratilova" userId="2fe17520-6eaf-451d-b6ca-936bf05b64b6" providerId="ADAL" clId="{A155F546-C93B-45EB-B9DE-8FC7C80A8830}" dt="2025-09-16T13:17:35.653" v="600"/>
          <ac:spMkLst>
            <pc:docMk/>
            <pc:sldMk cId="3343631431" sldId="512"/>
            <ac:spMk id="25" creationId="{182F8A60-F86E-88F2-45A9-63EF9FB10620}"/>
          </ac:spMkLst>
        </pc:spChg>
        <pc:spChg chg="add del mod">
          <ac:chgData name="Natalie Navratilova" userId="2fe17520-6eaf-451d-b6ca-936bf05b64b6" providerId="ADAL" clId="{A155F546-C93B-45EB-B9DE-8FC7C80A8830}" dt="2025-09-16T13:17:49.713" v="602" actId="478"/>
          <ac:spMkLst>
            <pc:docMk/>
            <pc:sldMk cId="3343631431" sldId="512"/>
            <ac:spMk id="27" creationId="{7ABFAE5E-B0CC-D720-19F0-DC587F4D7ED1}"/>
          </ac:spMkLst>
        </pc:spChg>
        <pc:spChg chg="add mod">
          <ac:chgData name="Natalie Navratilova" userId="2fe17520-6eaf-451d-b6ca-936bf05b64b6" providerId="ADAL" clId="{A155F546-C93B-45EB-B9DE-8FC7C80A8830}" dt="2025-09-16T13:18:01.278" v="604" actId="1076"/>
          <ac:spMkLst>
            <pc:docMk/>
            <pc:sldMk cId="3343631431" sldId="512"/>
            <ac:spMk id="28" creationId="{CDD9427E-E953-9D10-AEF9-AC3039A4F1B6}"/>
          </ac:spMkLst>
        </pc:spChg>
        <pc:spChg chg="add mod">
          <ac:chgData name="Natalie Navratilova" userId="2fe17520-6eaf-451d-b6ca-936bf05b64b6" providerId="ADAL" clId="{A155F546-C93B-45EB-B9DE-8FC7C80A8830}" dt="2025-09-16T13:32:30.925" v="810" actId="14100"/>
          <ac:spMkLst>
            <pc:docMk/>
            <pc:sldMk cId="3343631431" sldId="512"/>
            <ac:spMk id="31" creationId="{5A01E652-E257-6B6C-3EB2-43BF249316B8}"/>
          </ac:spMkLst>
        </pc:spChg>
        <pc:spChg chg="add mod">
          <ac:chgData name="Natalie Navratilova" userId="2fe17520-6eaf-451d-b6ca-936bf05b64b6" providerId="ADAL" clId="{A155F546-C93B-45EB-B9DE-8FC7C80A8830}" dt="2025-09-16T13:32:33.285" v="811" actId="1076"/>
          <ac:spMkLst>
            <pc:docMk/>
            <pc:sldMk cId="3343631431" sldId="512"/>
            <ac:spMk id="32" creationId="{4F65B71C-6FCA-8478-53C7-B1EB78B93A40}"/>
          </ac:spMkLst>
        </pc:spChg>
        <pc:spChg chg="add mod ord">
          <ac:chgData name="Natalie Navratilova" userId="2fe17520-6eaf-451d-b6ca-936bf05b64b6" providerId="ADAL" clId="{A155F546-C93B-45EB-B9DE-8FC7C80A8830}" dt="2025-09-16T13:32:34.122" v="812" actId="1076"/>
          <ac:spMkLst>
            <pc:docMk/>
            <pc:sldMk cId="3343631431" sldId="512"/>
            <ac:spMk id="33" creationId="{6C846D73-E1FD-E77B-4FB5-8012E9AF900E}"/>
          </ac:spMkLst>
        </pc:spChg>
        <pc:picChg chg="add del mod">
          <ac:chgData name="Natalie Navratilova" userId="2fe17520-6eaf-451d-b6ca-936bf05b64b6" providerId="ADAL" clId="{A155F546-C93B-45EB-B9DE-8FC7C80A8830}" dt="2025-09-16T12:31:13.793" v="161" actId="478"/>
          <ac:picMkLst>
            <pc:docMk/>
            <pc:sldMk cId="3343631431" sldId="512"/>
            <ac:picMk id="10" creationId="{2B649965-D12F-F08E-1E51-1F261B04B24E}"/>
          </ac:picMkLst>
        </pc:picChg>
        <pc:picChg chg="add mod ord">
          <ac:chgData name="Natalie Navratilova" userId="2fe17520-6eaf-451d-b6ca-936bf05b64b6" providerId="ADAL" clId="{A155F546-C93B-45EB-B9DE-8FC7C80A8830}" dt="2025-09-16T13:24:51.333" v="700" actId="1076"/>
          <ac:picMkLst>
            <pc:docMk/>
            <pc:sldMk cId="3343631431" sldId="512"/>
            <ac:picMk id="11" creationId="{DB82EDD7-6FAA-2501-28DE-EA3A90CF0380}"/>
          </ac:picMkLst>
        </pc:picChg>
        <pc:picChg chg="add del mod">
          <ac:chgData name="Natalie Navratilova" userId="2fe17520-6eaf-451d-b6ca-936bf05b64b6" providerId="ADAL" clId="{A155F546-C93B-45EB-B9DE-8FC7C80A8830}" dt="2025-09-16T12:40:53.038" v="273" actId="478"/>
          <ac:picMkLst>
            <pc:docMk/>
            <pc:sldMk cId="3343631431" sldId="512"/>
            <ac:picMk id="15" creationId="{5A6AFA9D-052D-F132-4109-E1715DC45A8C}"/>
          </ac:picMkLst>
        </pc:picChg>
        <pc:picChg chg="add mod">
          <ac:chgData name="Natalie Navratilova" userId="2fe17520-6eaf-451d-b6ca-936bf05b64b6" providerId="ADAL" clId="{A155F546-C93B-45EB-B9DE-8FC7C80A8830}" dt="2025-09-16T13:24:58.408" v="703" actId="1076"/>
          <ac:picMkLst>
            <pc:docMk/>
            <pc:sldMk cId="3343631431" sldId="512"/>
            <ac:picMk id="23" creationId="{E8203F5B-408F-D0DA-0F1B-6A452D2A0163}"/>
          </ac:picMkLst>
        </pc:picChg>
        <pc:picChg chg="add del mod ord">
          <ac:chgData name="Natalie Navratilova" userId="2fe17520-6eaf-451d-b6ca-936bf05b64b6" providerId="ADAL" clId="{A155F546-C93B-45EB-B9DE-8FC7C80A8830}" dt="2025-09-16T13:24:23.706" v="693" actId="478"/>
          <ac:picMkLst>
            <pc:docMk/>
            <pc:sldMk cId="3343631431" sldId="512"/>
            <ac:picMk id="30" creationId="{7B545FCE-1F1D-F104-0697-D98B94353E6D}"/>
          </ac:picMkLst>
        </pc:picChg>
      </pc:sldChg>
      <pc:sldChg chg="addSp delSp modSp new mod ord">
        <pc:chgData name="Natalie Navratilova" userId="2fe17520-6eaf-451d-b6ca-936bf05b64b6" providerId="ADAL" clId="{A155F546-C93B-45EB-B9DE-8FC7C80A8830}" dt="2025-09-17T11:23:04.890" v="1069" actId="14100"/>
        <pc:sldMkLst>
          <pc:docMk/>
          <pc:sldMk cId="3281788921" sldId="513"/>
        </pc:sldMkLst>
        <pc:spChg chg="del mod">
          <ac:chgData name="Natalie Navratilova" userId="2fe17520-6eaf-451d-b6ca-936bf05b64b6" providerId="ADAL" clId="{A155F546-C93B-45EB-B9DE-8FC7C80A8830}" dt="2025-09-17T05:24:06.717" v="947"/>
          <ac:spMkLst>
            <pc:docMk/>
            <pc:sldMk cId="3281788921" sldId="513"/>
            <ac:spMk id="2" creationId="{77807155-541D-1098-B488-CCD43A2B2670}"/>
          </ac:spMkLst>
        </pc:spChg>
        <pc:spChg chg="del">
          <ac:chgData name="Natalie Navratilova" userId="2fe17520-6eaf-451d-b6ca-936bf05b64b6" providerId="ADAL" clId="{A155F546-C93B-45EB-B9DE-8FC7C80A8830}" dt="2025-09-16T12:46:26.693" v="367" actId="478"/>
          <ac:spMkLst>
            <pc:docMk/>
            <pc:sldMk cId="3281788921" sldId="513"/>
            <ac:spMk id="3" creationId="{68F2097E-7703-2846-48B4-4A5552B55342}"/>
          </ac:spMkLst>
        </pc:spChg>
        <pc:spChg chg="del">
          <ac:chgData name="Natalie Navratilova" userId="2fe17520-6eaf-451d-b6ca-936bf05b64b6" providerId="ADAL" clId="{A155F546-C93B-45EB-B9DE-8FC7C80A8830}" dt="2025-09-16T13:38:28.159" v="924"/>
          <ac:spMkLst>
            <pc:docMk/>
            <pc:sldMk cId="3281788921" sldId="513"/>
            <ac:spMk id="6" creationId="{3B41CE62-C0EC-D882-E899-DD9610C93991}"/>
          </ac:spMkLst>
        </pc:spChg>
        <pc:spChg chg="add del mod">
          <ac:chgData name="Natalie Navratilova" userId="2fe17520-6eaf-451d-b6ca-936bf05b64b6" providerId="ADAL" clId="{A155F546-C93B-45EB-B9DE-8FC7C80A8830}" dt="2025-09-16T13:16:37.909" v="596" actId="478"/>
          <ac:spMkLst>
            <pc:docMk/>
            <pc:sldMk cId="3281788921" sldId="513"/>
            <ac:spMk id="7" creationId="{7DDD4808-4618-222E-A871-C0B697BE3950}"/>
          </ac:spMkLst>
        </pc:spChg>
        <pc:spChg chg="add mod">
          <ac:chgData name="Natalie Navratilova" userId="2fe17520-6eaf-451d-b6ca-936bf05b64b6" providerId="ADAL" clId="{A155F546-C93B-45EB-B9DE-8FC7C80A8830}" dt="2025-09-16T13:56:46.539" v="944" actId="20577"/>
          <ac:spMkLst>
            <pc:docMk/>
            <pc:sldMk cId="3281788921" sldId="513"/>
            <ac:spMk id="8" creationId="{6E0D8146-624A-9856-C1D2-152672CF0A2D}"/>
          </ac:spMkLst>
        </pc:spChg>
        <pc:spChg chg="add mod ord">
          <ac:chgData name="Natalie Navratilova" userId="2fe17520-6eaf-451d-b6ca-936bf05b64b6" providerId="ADAL" clId="{A155F546-C93B-45EB-B9DE-8FC7C80A8830}" dt="2025-09-17T11:21:40.847" v="1059" actId="208"/>
          <ac:spMkLst>
            <pc:docMk/>
            <pc:sldMk cId="3281788921" sldId="513"/>
            <ac:spMk id="9" creationId="{0911F944-DCB0-58F1-E561-171BE80C9E95}"/>
          </ac:spMkLst>
        </pc:spChg>
        <pc:spChg chg="add del mod ord">
          <ac:chgData name="Natalie Navratilova" userId="2fe17520-6eaf-451d-b6ca-936bf05b64b6" providerId="ADAL" clId="{A155F546-C93B-45EB-B9DE-8FC7C80A8830}" dt="2025-09-16T13:39:05.316" v="926" actId="478"/>
          <ac:spMkLst>
            <pc:docMk/>
            <pc:sldMk cId="3281788921" sldId="513"/>
            <ac:spMk id="10" creationId="{ADBC0C5D-246B-9F11-CF99-2922F637D8F3}"/>
          </ac:spMkLst>
        </pc:spChg>
        <pc:spChg chg="add del mod">
          <ac:chgData name="Natalie Navratilova" userId="2fe17520-6eaf-451d-b6ca-936bf05b64b6" providerId="ADAL" clId="{A155F546-C93B-45EB-B9DE-8FC7C80A8830}" dt="2025-09-16T12:54:55.826" v="420" actId="478"/>
          <ac:spMkLst>
            <pc:docMk/>
            <pc:sldMk cId="3281788921" sldId="513"/>
            <ac:spMk id="12" creationId="{B200BEFF-2162-BBE5-9B03-24D808ACC1F4}"/>
          </ac:spMkLst>
        </pc:spChg>
        <pc:spChg chg="add del mod">
          <ac:chgData name="Natalie Navratilova" userId="2fe17520-6eaf-451d-b6ca-936bf05b64b6" providerId="ADAL" clId="{A155F546-C93B-45EB-B9DE-8FC7C80A8830}" dt="2025-09-16T13:06:57.195" v="487" actId="478"/>
          <ac:spMkLst>
            <pc:docMk/>
            <pc:sldMk cId="3281788921" sldId="513"/>
            <ac:spMk id="14" creationId="{AF4FA626-D35E-6B75-4725-AB1D0A4CE0B6}"/>
          </ac:spMkLst>
        </pc:spChg>
        <pc:spChg chg="add del mod">
          <ac:chgData name="Natalie Navratilova" userId="2fe17520-6eaf-451d-b6ca-936bf05b64b6" providerId="ADAL" clId="{A155F546-C93B-45EB-B9DE-8FC7C80A8830}" dt="2025-09-16T13:06:32.199" v="475" actId="478"/>
          <ac:spMkLst>
            <pc:docMk/>
            <pc:sldMk cId="3281788921" sldId="513"/>
            <ac:spMk id="16" creationId="{369973C7-35CA-4DCF-4065-F808B4AD3499}"/>
          </ac:spMkLst>
        </pc:spChg>
        <pc:spChg chg="add mod">
          <ac:chgData name="Natalie Navratilova" userId="2fe17520-6eaf-451d-b6ca-936bf05b64b6" providerId="ADAL" clId="{A155F546-C93B-45EB-B9DE-8FC7C80A8830}" dt="2025-09-16T13:16:25.254" v="592" actId="6549"/>
          <ac:spMkLst>
            <pc:docMk/>
            <pc:sldMk cId="3281788921" sldId="513"/>
            <ac:spMk id="19" creationId="{3D4AB8E0-155B-5ECF-9ACD-CFD3E87D04B6}"/>
          </ac:spMkLst>
        </pc:spChg>
        <pc:spChg chg="add mod ord">
          <ac:chgData name="Natalie Navratilova" userId="2fe17520-6eaf-451d-b6ca-936bf05b64b6" providerId="ADAL" clId="{A155F546-C93B-45EB-B9DE-8FC7C80A8830}" dt="2025-09-17T11:21:46.690" v="1060" actId="1076"/>
          <ac:spMkLst>
            <pc:docMk/>
            <pc:sldMk cId="3281788921" sldId="513"/>
            <ac:spMk id="21" creationId="{1F148C27-49E8-F74F-76F4-ACF127FE1732}"/>
          </ac:spMkLst>
        </pc:spChg>
        <pc:spChg chg="add del mod">
          <ac:chgData name="Natalie Navratilova" userId="2fe17520-6eaf-451d-b6ca-936bf05b64b6" providerId="ADAL" clId="{A155F546-C93B-45EB-B9DE-8FC7C80A8830}" dt="2025-09-16T13:37:29.812" v="859"/>
          <ac:spMkLst>
            <pc:docMk/>
            <pc:sldMk cId="3281788921" sldId="513"/>
            <ac:spMk id="26" creationId="{ED5AA4F8-1C6A-2E88-9CDD-4F4C3D74D7F0}"/>
          </ac:spMkLst>
        </pc:spChg>
        <pc:spChg chg="add del mod">
          <ac:chgData name="Natalie Navratilova" userId="2fe17520-6eaf-451d-b6ca-936bf05b64b6" providerId="ADAL" clId="{A155F546-C93B-45EB-B9DE-8FC7C80A8830}" dt="2025-09-16T13:37:33.568" v="863"/>
          <ac:spMkLst>
            <pc:docMk/>
            <pc:sldMk cId="3281788921" sldId="513"/>
            <ac:spMk id="27" creationId="{103C4C1F-3026-6B9B-81B3-25B921D4C838}"/>
          </ac:spMkLst>
        </pc:spChg>
        <pc:spChg chg="add mod">
          <ac:chgData name="Natalie Navratilova" userId="2fe17520-6eaf-451d-b6ca-936bf05b64b6" providerId="ADAL" clId="{A155F546-C93B-45EB-B9DE-8FC7C80A8830}" dt="2025-09-16T13:38:31.357" v="925" actId="207"/>
          <ac:spMkLst>
            <pc:docMk/>
            <pc:sldMk cId="3281788921" sldId="513"/>
            <ac:spMk id="28" creationId="{4EC8A6F2-87D4-3760-B66F-AFBE3D039BD1}"/>
          </ac:spMkLst>
        </pc:spChg>
        <pc:spChg chg="add del mod ord">
          <ac:chgData name="Natalie Navratilova" userId="2fe17520-6eaf-451d-b6ca-936bf05b64b6" providerId="ADAL" clId="{A155F546-C93B-45EB-B9DE-8FC7C80A8830}" dt="2025-09-17T11:15:31.980" v="1011" actId="478"/>
          <ac:spMkLst>
            <pc:docMk/>
            <pc:sldMk cId="3281788921" sldId="513"/>
            <ac:spMk id="35" creationId="{59B2D1E5-315A-9B7F-E68E-83EA6A892608}"/>
          </ac:spMkLst>
        </pc:spChg>
        <pc:spChg chg="add mod ord">
          <ac:chgData name="Natalie Navratilova" userId="2fe17520-6eaf-451d-b6ca-936bf05b64b6" providerId="ADAL" clId="{A155F546-C93B-45EB-B9DE-8FC7C80A8830}" dt="2025-09-17T11:21:05.996" v="1052" actId="208"/>
          <ac:spMkLst>
            <pc:docMk/>
            <pc:sldMk cId="3281788921" sldId="513"/>
            <ac:spMk id="36" creationId="{182DF97F-A8C9-B791-6C1B-FF3220C39845}"/>
          </ac:spMkLst>
        </pc:spChg>
        <pc:picChg chg="add del mod modCrop">
          <ac:chgData name="Natalie Navratilova" userId="2fe17520-6eaf-451d-b6ca-936bf05b64b6" providerId="ADAL" clId="{A155F546-C93B-45EB-B9DE-8FC7C80A8830}" dt="2025-09-16T13:10:04.947" v="526" actId="478"/>
          <ac:picMkLst>
            <pc:docMk/>
            <pc:sldMk cId="3281788921" sldId="513"/>
            <ac:picMk id="18" creationId="{02F0AAED-3FD3-6B1F-C544-650BBA99DEED}"/>
          </ac:picMkLst>
        </pc:picChg>
        <pc:picChg chg="add del mod ord">
          <ac:chgData name="Natalie Navratilova" userId="2fe17520-6eaf-451d-b6ca-936bf05b64b6" providerId="ADAL" clId="{A155F546-C93B-45EB-B9DE-8FC7C80A8830}" dt="2025-09-16T13:13:07.190" v="567" actId="478"/>
          <ac:picMkLst>
            <pc:docMk/>
            <pc:sldMk cId="3281788921" sldId="513"/>
            <ac:picMk id="23" creationId="{EC95F566-F2A1-514E-8C78-67DB50B65600}"/>
          </ac:picMkLst>
        </pc:picChg>
        <pc:picChg chg="add del mod ord modCrop">
          <ac:chgData name="Natalie Navratilova" userId="2fe17520-6eaf-451d-b6ca-936bf05b64b6" providerId="ADAL" clId="{A155F546-C93B-45EB-B9DE-8FC7C80A8830}" dt="2025-09-16T13:16:35.754" v="595" actId="478"/>
          <ac:picMkLst>
            <pc:docMk/>
            <pc:sldMk cId="3281788921" sldId="513"/>
            <ac:picMk id="25" creationId="{1FB632AA-465B-6C04-3EE2-BB2F9CDD6DE9}"/>
          </ac:picMkLst>
        </pc:picChg>
        <pc:picChg chg="add mod">
          <ac:chgData name="Natalie Navratilova" userId="2fe17520-6eaf-451d-b6ca-936bf05b64b6" providerId="ADAL" clId="{A155F546-C93B-45EB-B9DE-8FC7C80A8830}" dt="2025-09-17T11:23:04.890" v="1069" actId="14100"/>
          <ac:picMkLst>
            <pc:docMk/>
            <pc:sldMk cId="3281788921" sldId="513"/>
            <ac:picMk id="30" creationId="{74CF9D88-85A0-5E74-C388-A4D6CE588ABA}"/>
          </ac:picMkLst>
        </pc:picChg>
        <pc:picChg chg="add mod ord">
          <ac:chgData name="Natalie Navratilova" userId="2fe17520-6eaf-451d-b6ca-936bf05b64b6" providerId="ADAL" clId="{A155F546-C93B-45EB-B9DE-8FC7C80A8830}" dt="2025-09-17T11:23:01.183" v="1067" actId="14100"/>
          <ac:picMkLst>
            <pc:docMk/>
            <pc:sldMk cId="3281788921" sldId="513"/>
            <ac:picMk id="32" creationId="{C9010668-A08B-3866-D31B-2182AED1452A}"/>
          </ac:picMkLst>
        </pc:picChg>
        <pc:picChg chg="add mod">
          <ac:chgData name="Natalie Navratilova" userId="2fe17520-6eaf-451d-b6ca-936bf05b64b6" providerId="ADAL" clId="{A155F546-C93B-45EB-B9DE-8FC7C80A8830}" dt="2025-09-17T11:23:03.109" v="1068" actId="14100"/>
          <ac:picMkLst>
            <pc:docMk/>
            <pc:sldMk cId="3281788921" sldId="513"/>
            <ac:picMk id="34" creationId="{0676E772-FC98-205C-AA64-3026F4A890BF}"/>
          </ac:picMkLst>
        </pc:picChg>
      </pc:sldChg>
      <pc:sldChg chg="new add del">
        <pc:chgData name="Natalie Navratilova" userId="2fe17520-6eaf-451d-b6ca-936bf05b64b6" providerId="ADAL" clId="{A155F546-C93B-45EB-B9DE-8FC7C80A8830}" dt="2025-09-17T11:17:47.012" v="1037" actId="680"/>
        <pc:sldMkLst>
          <pc:docMk/>
          <pc:sldMk cId="4069037219" sldId="51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theme" Target="../theme/theme4.xml"/><Relationship Id="rId5" Type="http://schemas.openxmlformats.org/officeDocument/2006/relationships/tags" Target="../tags/tag319.xml"/><Relationship Id="rId4" Type="http://schemas.openxmlformats.org/officeDocument/2006/relationships/tags" Target="../tags/tag3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447B529-C8EE-CB43-B526-ED3F02CB6AE4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2F1A2F-6F4B-E840-9299-8013EE61C2EA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28F64-2329-1147-A9B1-D059A04C4F26}" type="datetimeFigureOut">
              <a:rPr lang="de-AT" smtClean="0"/>
              <a:t>16.09.2025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CF0E8-63B8-3C4D-89B0-CEC59D6F821B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54FFFC-2CCB-3E45-9098-10D732B798DC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AB71D6-D870-174F-8195-7AC2804294A2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322727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heme" Target="../theme/theme3.x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4" Type="http://schemas.openxmlformats.org/officeDocument/2006/relationships/tags" Target="../tags/tag3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ns Regular" panose="020B0606030504020204" pitchFamily="34" charset="0"/>
              </a:defRPr>
            </a:lvl1pPr>
          </a:lstStyle>
          <a:p>
            <a:fld id="{D37FCFF5-5717-9A4F-BCEE-CE6113257054}" type="datetimeFigureOut">
              <a:rPr lang="de-AT" smtClean="0"/>
              <a:pPr/>
              <a:t>16.09.2025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ns Regular" panose="020B0606030504020204" pitchFamily="34" charset="0"/>
              </a:defRPr>
            </a:lvl1pPr>
          </a:lstStyle>
          <a:p>
            <a:fld id="{32AB1C79-4277-1041-9CAB-8B21B9A1809D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02898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1pPr>
    <a:lvl2pPr marL="342892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2pPr>
    <a:lvl3pPr marL="685783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3pPr>
    <a:lvl4pPr marL="1028675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4pPr>
    <a:lvl5pPr marL="1371566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4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89.xml"/><Relationship Id="rId10" Type="http://schemas.openxmlformats.org/officeDocument/2006/relationships/tags" Target="../tags/tag294.xml"/><Relationship Id="rId4" Type="http://schemas.openxmlformats.org/officeDocument/2006/relationships/tags" Target="../tags/tag288.xml"/><Relationship Id="rId9" Type="http://schemas.openxmlformats.org/officeDocument/2006/relationships/tags" Target="../tags/tag29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9.xml"/><Relationship Id="rId4" Type="http://schemas.openxmlformats.org/officeDocument/2006/relationships/tags" Target="../tags/tag298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tags" Target="../tags/tag301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image" Target="../media/image16.png"/><Relationship Id="rId5" Type="http://schemas.openxmlformats.org/officeDocument/2006/relationships/tags" Target="../tags/tag304.xml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tags" Target="../tags/tag303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8.xml"/><Relationship Id="rId1" Type="http://schemas.openxmlformats.org/officeDocument/2006/relationships/tags" Target="../tags/tag30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6.xml"/><Relationship Id="rId7" Type="http://schemas.openxmlformats.org/officeDocument/2006/relationships/image" Target="../media/image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3" Type="http://schemas.openxmlformats.org/officeDocument/2006/relationships/tags" Target="../tags/tag79.xml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7.png"/><Relationship Id="rId4" Type="http://schemas.openxmlformats.org/officeDocument/2006/relationships/tags" Target="../tags/tag80.xml"/><Relationship Id="rId9" Type="http://schemas.openxmlformats.org/officeDocument/2006/relationships/image" Target="../media/image6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82.xml"/><Relationship Id="rId16" Type="http://schemas.openxmlformats.org/officeDocument/2006/relationships/image" Target="../media/image12.svg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png"/><Relationship Id="rId5" Type="http://schemas.openxmlformats.org/officeDocument/2006/relationships/tags" Target="../tags/tag85.xml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tags" Target="../tags/tag84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image" Target="../media/image1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3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4" Type="http://schemas.openxmlformats.org/officeDocument/2006/relationships/image" Target="../media/image13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13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0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35.xml"/><Relationship Id="rId10" Type="http://schemas.openxmlformats.org/officeDocument/2006/relationships/tags" Target="../tags/tag140.xml"/><Relationship Id="rId4" Type="http://schemas.openxmlformats.org/officeDocument/2006/relationships/tags" Target="../tags/tag134.xml"/><Relationship Id="rId9" Type="http://schemas.openxmlformats.org/officeDocument/2006/relationships/tags" Target="../tags/tag13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5.xml"/><Relationship Id="rId4" Type="http://schemas.openxmlformats.org/officeDocument/2006/relationships/tags" Target="../tags/tag14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tags" Target="../tags/tag147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6.png"/><Relationship Id="rId5" Type="http://schemas.openxmlformats.org/officeDocument/2006/relationships/tags" Target="../tags/tag150.xml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tags" Target="../tags/tag149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9.xml"/><Relationship Id="rId4" Type="http://schemas.openxmlformats.org/officeDocument/2006/relationships/image" Target="../media/image27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2.xml"/><Relationship Id="rId4" Type="http://schemas.openxmlformats.org/officeDocument/2006/relationships/image" Target="../media/image2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3.xml"/><Relationship Id="rId4" Type="http://schemas.openxmlformats.org/officeDocument/2006/relationships/image" Target="../media/image27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Relationship Id="rId4" Type="http://schemas.openxmlformats.org/officeDocument/2006/relationships/image" Target="../media/image27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5.xml"/><Relationship Id="rId4" Type="http://schemas.openxmlformats.org/officeDocument/2006/relationships/image" Target="../media/image2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4" Type="http://schemas.openxmlformats.org/officeDocument/2006/relationships/tags" Target="../tags/tag18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1.xml"/><Relationship Id="rId4" Type="http://schemas.openxmlformats.org/officeDocument/2006/relationships/tags" Target="../tags/tag210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tags" Target="../tags/tag22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30.xml"/><Relationship Id="rId7" Type="http://schemas.openxmlformats.org/officeDocument/2006/relationships/image" Target="../media/image5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3" Type="http://schemas.openxmlformats.org/officeDocument/2006/relationships/tags" Target="../tags/tag233.xml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7.png"/><Relationship Id="rId4" Type="http://schemas.openxmlformats.org/officeDocument/2006/relationships/tags" Target="../tags/tag234.xml"/><Relationship Id="rId9" Type="http://schemas.openxmlformats.org/officeDocument/2006/relationships/image" Target="../media/image6.sv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tags" Target="../tags/tag237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236.xml"/><Relationship Id="rId16" Type="http://schemas.openxmlformats.org/officeDocument/2006/relationships/image" Target="../media/image12.svg"/><Relationship Id="rId1" Type="http://schemas.openxmlformats.org/officeDocument/2006/relationships/tags" Target="../tags/tag235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7.png"/><Relationship Id="rId5" Type="http://schemas.openxmlformats.org/officeDocument/2006/relationships/tags" Target="../tags/tag239.xml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tags" Target="../tags/tag238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3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4" Type="http://schemas.openxmlformats.org/officeDocument/2006/relationships/image" Target="../media/image13.pn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13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over 1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002AE41-F025-D2F6-ED98-20636B4698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6401" b="16401"/>
          <a:stretch/>
        </p:blipFill>
        <p:spPr>
          <a:xfrm>
            <a:off x="3680338" y="4691563"/>
            <a:ext cx="1783321" cy="418268"/>
          </a:xfrm>
          <a:prstGeom prst="rect">
            <a:avLst/>
          </a:prstGeom>
        </p:spPr>
      </p:pic>
      <p:sp>
        <p:nvSpPr>
          <p:cNvPr id="3" name="Bildplatzhalter 3">
            <a:extLst>
              <a:ext uri="{FF2B5EF4-FFF2-40B4-BE49-F238E27FC236}">
                <a16:creationId xmlns:a16="http://schemas.microsoft.com/office/drawing/2014/main" id="{89EA6D5C-057F-039B-6AD0-EB2900018819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ltGray">
          <a:xfrm>
            <a:off x="0" y="1"/>
            <a:ext cx="9144000" cy="4659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/>
          <a:lstStyle>
            <a:lvl1pPr marL="0" indent="0">
              <a:buFontTx/>
              <a:buNone/>
              <a:defRPr/>
            </a:lvl1pPr>
          </a:lstStyle>
          <a:p>
            <a:r>
              <a:rPr lang="cs-CZ" noProof="0"/>
              <a:t>Kliknutím na ikonu přidáte obrázek.</a:t>
            </a:r>
            <a:endParaRPr lang="en-US" noProof="0"/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D9857394-194E-838B-5C64-F5EB26A12A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-802986" y="3580824"/>
            <a:ext cx="1821876" cy="215899"/>
          </a:xfrm>
        </p:spPr>
        <p:txBody>
          <a:bodyPr wrap="none" lIns="72000" tIns="72000" rIns="72000" bIns="72000" anchor="ctr" anchorCtr="0">
            <a:noAutofit/>
          </a:bodyPr>
          <a:lstStyle>
            <a:lvl1pPr marL="0" indent="0">
              <a:buNone/>
              <a:defRPr lang="de-AT" sz="700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841E538-6E38-9907-CC73-D65F069F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088" y="2479964"/>
            <a:ext cx="8029575" cy="505690"/>
          </a:xfrm>
          <a:prstGeom prst="rect">
            <a:avLst/>
          </a:prstGeom>
          <a:effectLst>
            <a:outerShdw blurRad="63500" algn="ctr" rotWithShape="0">
              <a:prstClr val="black">
                <a:alpha val="60000"/>
              </a:prstClr>
            </a:outerShdw>
          </a:effectLst>
        </p:spPr>
        <p:txBody>
          <a:bodyPr wrap="square" bIns="0" anchor="b" anchorCtr="0">
            <a:noAutofit/>
          </a:bodyPr>
          <a:lstStyle>
            <a:lvl1pPr algn="l">
              <a:lnSpc>
                <a:spcPts val="3400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ED7AAFA-D6DD-8BA2-1645-094CCBB653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086" y="3071350"/>
            <a:ext cx="8316913" cy="193643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ts val="164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6309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9DAF00E2-0A08-0468-E8D9-329DE338928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59769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6EDE792-4C72-7128-9CB7-DA362888161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0DD76DF-4E63-9FDA-9984-5DF6A638C8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67063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9326AC2C-D546-207E-8A3C-02AA4D28311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84888" y="1203325"/>
            <a:ext cx="3059111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4F26EE33-67D1-41F9-04DE-7F39C518DDB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0F13EC77-E58A-2F6C-4815-96313769D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C825930-E0D5-7659-CC40-5987CC75BA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23642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8" y="1706564"/>
            <a:ext cx="202723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4B022C8-42B2-40FA-B071-0A7A19AFB32A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421505" y="1706564"/>
            <a:ext cx="209493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Bildplatzhalter 14">
            <a:extLst>
              <a:ext uri="{FF2B5EF4-FFF2-40B4-BE49-F238E27FC236}">
                <a16:creationId xmlns:a16="http://schemas.microsoft.com/office/drawing/2014/main" id="{A4B82496-48B6-4510-A20D-92B477D9753A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4625975" y="1706563"/>
            <a:ext cx="2066003" cy="11890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Bildplatzhalter 14">
            <a:extLst>
              <a:ext uri="{FF2B5EF4-FFF2-40B4-BE49-F238E27FC236}">
                <a16:creationId xmlns:a16="http://schemas.microsoft.com/office/drawing/2014/main" id="{9A91AA26-8914-41BD-89E6-BA30FABCEAD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6804026" y="1706564"/>
            <a:ext cx="2052638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08DE35C-7FAA-E7A1-12C6-E04C74A0A0D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A9734B69-7ADD-8F77-A8D9-0C4A8109C46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42150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7BCF610-04A3-F889-405F-8DA944E1493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62597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13239356-2DB2-5273-AA18-C41B0AA20B9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0402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E9E8E9B5-976E-FB38-A880-1C67E0304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B1090E4-9EF5-AC31-318D-D5E92F8EF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042651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A5590BEC-534A-8F7D-C28E-2D505305C4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733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13C44415-5087-77D7-FFCC-CCBCF36EC8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426074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FE83D65-6BB9-2729-A88C-E8B308840B8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2597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9CC74EDB-7BF1-FD19-F20C-C1305FE6999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25876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55D5BDF2-AAF5-413D-DDC5-C7E785E1B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3F12F80-AEE5-A506-A373-DAA13B05E7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476621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6" y="1706564"/>
            <a:ext cx="158433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C54750A-3041-479B-94C0-F4C281042279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044528" y="1706564"/>
            <a:ext cx="158805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Bildplatzhalter 14">
            <a:extLst>
              <a:ext uri="{FF2B5EF4-FFF2-40B4-BE49-F238E27FC236}">
                <a16:creationId xmlns:a16="http://schemas.microsoft.com/office/drawing/2014/main" id="{E1816455-AB7E-4BB4-931E-D118AFA994C2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3801237" y="1706564"/>
            <a:ext cx="1588054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220A2763-62C4-4F81-8DF6-8C0B4BCBAB8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7303055" y="1706564"/>
            <a:ext cx="155360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9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Bildplatzhalter 14">
            <a:extLst>
              <a:ext uri="{FF2B5EF4-FFF2-40B4-BE49-F238E27FC236}">
                <a16:creationId xmlns:a16="http://schemas.microsoft.com/office/drawing/2014/main" id="{23638CCB-041E-44B4-9A72-68D960DB25CD}"/>
              </a:ext>
            </a:extLst>
          </p:cNvPr>
          <p:cNvSpPr>
            <a:spLocks noGrp="1"/>
          </p:cNvSpPr>
          <p:nvPr>
            <p:ph type="pic" sz="quarter" idx="51" hasCustomPrompt="1"/>
            <p:custDataLst>
              <p:tags r:id="rId10"/>
            </p:custDataLst>
          </p:nvPr>
        </p:nvSpPr>
        <p:spPr>
          <a:xfrm>
            <a:off x="5556880" y="1706564"/>
            <a:ext cx="157858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A14EE704-B5FB-AB32-2F2F-6203DDE974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2C7717CC-9A81-5F6D-97D1-C4D2CED447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044528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01642409-1FFE-6036-4AF9-5BFD06FBEC8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801236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2A7F4E47-3A84-A7A8-7AB6-352AED9875A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556880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F22BF93A-4A33-0532-C092-70D26BD04F3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30305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60C77E45-1EBC-F577-D528-039B1268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7015716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F910CAD-66C7-C61B-A219-1B3401233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15717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75458870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5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EF4C9D9-1E0A-5DE1-D23F-92BEB357A85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620896C3-74FB-65FE-8AD2-305092ED925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44043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212084B9-40F0-7366-594E-900BAB84C56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8107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5291E66-58B4-F07E-07A9-0E3950D815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636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655D88AF-BBBB-7CE6-2E3F-88516DB4FA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2524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D2C1BF7-93CB-7E3A-94CB-71ED45347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2518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94E5BFC-D622-69EB-E149-C16655E74A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2518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7882964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bulletpoints -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Marke 1 mit einfarbiger Füllung">
            <a:extLst>
              <a:ext uri="{FF2B5EF4-FFF2-40B4-BE49-F238E27FC236}">
                <a16:creationId xmlns:a16="http://schemas.microsoft.com/office/drawing/2014/main" id="{9143D4E8-82C7-7EE5-2650-9D9B9AD808B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7227" y="1553283"/>
            <a:ext cx="360000" cy="3600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05517341-621C-D866-07A9-4615AF3C648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D5B975A-2098-DB44-BD67-F370F7357289}"/>
              </a:ext>
            </a:extLst>
          </p:cNvPr>
          <p:cNvSpPr>
            <a:spLocks noGrp="1"/>
          </p:cNvSpPr>
          <p:nvPr>
            <p:ph type="body" sz="quarter" idx="41" hasCustomPrompt="1"/>
            <p:custDataLst>
              <p:tags r:id="rId1"/>
            </p:custDataLst>
          </p:nvPr>
        </p:nvSpPr>
        <p:spPr>
          <a:xfrm>
            <a:off x="762935" y="15561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98291036-AD06-2669-60DF-E92B18A90C2F}"/>
              </a:ext>
            </a:extLst>
          </p:cNvPr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443873B2-4BC2-872F-CC99-DBB7DC4FBB6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006BA99-5C67-8B7B-AEED-3857FF4D26A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Bildplatzhalter 4">
            <a:extLst>
              <a:ext uri="{FF2B5EF4-FFF2-40B4-BE49-F238E27FC236}">
                <a16:creationId xmlns:a16="http://schemas.microsoft.com/office/drawing/2014/main" id="{00927770-0F52-1E71-EA8A-25718B045357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625976" y="1199034"/>
            <a:ext cx="4518024" cy="3460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D4A08535-39A8-6F7C-4C9A-AC56E18ACE4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3"/>
            </p:custDataLst>
          </p:nvPr>
        </p:nvSpPr>
        <p:spPr>
          <a:xfrm>
            <a:off x="762935" y="202996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35B7EFEB-7C22-5DD0-77CD-72CE0D04F2E8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4"/>
            </p:custDataLst>
          </p:nvPr>
        </p:nvSpPr>
        <p:spPr>
          <a:xfrm>
            <a:off x="762935" y="25038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1A15452E-0182-D25E-E827-63ABF86712E1}"/>
              </a:ext>
            </a:extLst>
          </p:cNvPr>
          <p:cNvSpPr>
            <a:spLocks noGrp="1"/>
          </p:cNvSpPr>
          <p:nvPr>
            <p:ph type="body" sz="quarter" idx="52" hasCustomPrompt="1"/>
            <p:custDataLst>
              <p:tags r:id="rId5"/>
            </p:custDataLst>
          </p:nvPr>
        </p:nvSpPr>
        <p:spPr>
          <a:xfrm>
            <a:off x="762935" y="2977325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47724EA4-B150-27B7-3960-4ECFDFE85087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6"/>
            </p:custDataLst>
          </p:nvPr>
        </p:nvSpPr>
        <p:spPr>
          <a:xfrm>
            <a:off x="762935" y="3450838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97ADD304-2D6E-BAE1-306D-74A08454E3A2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7"/>
            </p:custDataLst>
          </p:nvPr>
        </p:nvSpPr>
        <p:spPr>
          <a:xfrm>
            <a:off x="762935" y="3927517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AFDC0BBF-67BB-F45E-CAE5-C4CAD70D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4195880-0F11-219A-8398-C3D6C27EEF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8" name="Grafik 7" descr="Abzeichen mit einfarbiger Füllung">
            <a:extLst>
              <a:ext uri="{FF2B5EF4-FFF2-40B4-BE49-F238E27FC236}">
                <a16:creationId xmlns:a16="http://schemas.microsoft.com/office/drawing/2014/main" id="{FF5C3029-D624-B129-CA10-11BC049FA6D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9219" y="2034628"/>
            <a:ext cx="360000" cy="360000"/>
          </a:xfrm>
          <a:prstGeom prst="rect">
            <a:avLst/>
          </a:prstGeom>
        </p:spPr>
      </p:pic>
      <p:pic>
        <p:nvPicPr>
          <p:cNvPr id="11" name="Grafik 10" descr="Marke 3 mit einfarbiger Füllung">
            <a:extLst>
              <a:ext uri="{FF2B5EF4-FFF2-40B4-BE49-F238E27FC236}">
                <a16:creationId xmlns:a16="http://schemas.microsoft.com/office/drawing/2014/main" id="{D3D3C765-E772-2625-0F6A-0E05BF48EC2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3885" y="2499727"/>
            <a:ext cx="360000" cy="360000"/>
          </a:xfrm>
          <a:prstGeom prst="rect">
            <a:avLst/>
          </a:prstGeom>
        </p:spPr>
      </p:pic>
      <p:pic>
        <p:nvPicPr>
          <p:cNvPr id="13" name="Grafik 12" descr="Marke 4 mit einfarbiger Füllung">
            <a:extLst>
              <a:ext uri="{FF2B5EF4-FFF2-40B4-BE49-F238E27FC236}">
                <a16:creationId xmlns:a16="http://schemas.microsoft.com/office/drawing/2014/main" id="{9600208C-D7DA-5E92-8115-503A4487BD0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3885" y="2977325"/>
            <a:ext cx="360000" cy="360000"/>
          </a:xfrm>
          <a:prstGeom prst="rect">
            <a:avLst/>
          </a:prstGeom>
        </p:spPr>
      </p:pic>
      <p:pic>
        <p:nvPicPr>
          <p:cNvPr id="18" name="Grafik 17" descr="Marke 5 mit einfarbiger Füllung">
            <a:extLst>
              <a:ext uri="{FF2B5EF4-FFF2-40B4-BE49-F238E27FC236}">
                <a16:creationId xmlns:a16="http://schemas.microsoft.com/office/drawing/2014/main" id="{3D5D8BAA-5D3A-B701-1354-50D0005E08F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97227" y="3450838"/>
            <a:ext cx="360000" cy="360000"/>
          </a:xfrm>
          <a:prstGeom prst="rect">
            <a:avLst/>
          </a:prstGeom>
        </p:spPr>
      </p:pic>
      <p:pic>
        <p:nvPicPr>
          <p:cNvPr id="20" name="Grafik 19" descr="Marke 6 mit einfarbiger Füllung">
            <a:extLst>
              <a:ext uri="{FF2B5EF4-FFF2-40B4-BE49-F238E27FC236}">
                <a16:creationId xmlns:a16="http://schemas.microsoft.com/office/drawing/2014/main" id="{025B2DEC-F50D-86E7-F7D1-CBC3AABC036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97227" y="3932183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761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04CBD7EC-1B3C-0947-4C96-B5EC8A297D4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rgbClr val="B4AFA8">
              <a:alpha val="2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728000"/>
            <a:ext cx="8569326" cy="2931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9ECA101F-6608-4B88-EFA0-E7E1927267F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9144000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07035696-D435-82A1-04B7-03558016AE56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94583314-25BA-ECD2-44ED-C21DB074D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60D1216E-81CE-9E0C-8E72-9E3110C90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3062070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C00536A-C7F3-7C45-05FF-B0675E4E0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07105400-BAD2-9762-82ED-323FEABB76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889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778409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0BC0C88-DA64-8C4C-AF6D-6423A11DF1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144000" cy="5143501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1914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14A161FA-C0CC-36DD-81E9-237C50139B3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8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357020A-6ADE-EDD5-A2BD-BCB05491F08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173836" y="1439999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50A01E53-801E-EF14-647E-E2841859A9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203325"/>
            <a:ext cx="3059625" cy="3455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E5A2AC2A-51E2-D9FB-74BB-EF96EC42D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0DB6649-3347-1CFB-31AB-59CB15CE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28670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491326"/>
            <a:ext cx="4516435" cy="3167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51395DB5-2776-D915-7549-A4A635A7CC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45393C60-64BF-06A4-86C7-DFAC00C665D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396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107AF019-5CDE-057A-1E50-27159C4F61A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7561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5CFC7D2-B51F-1B3A-330A-B1B62E6F9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38B3443-260B-64EC-C359-2B66E2AD70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9700275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203326"/>
            <a:ext cx="4516435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94CE464-2B6F-FD13-B5EE-89F6DE454CB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6" y="1439999"/>
            <a:ext cx="396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51ED8B3-3EC0-25D8-AD0D-33E394C9D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6A26CA00-2F59-088E-5E41-A4939D5601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08177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0BB035E-0205-A942-17F1-29FA181F254B}"/>
              </a:ext>
            </a:extLst>
          </p:cNvPr>
          <p:cNvSpPr/>
          <p:nvPr userDrawn="1"/>
        </p:nvSpPr>
        <p:spPr>
          <a:xfrm>
            <a:off x="4625975" y="1203325"/>
            <a:ext cx="4518025" cy="3455988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7CC1FF0B-EDF0-BED2-885C-FCB51D162FB0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B65D3D-EE6D-F0E1-5E6C-0BE73FC9B3E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04B3DB-5EE0-1C1D-226C-B7068A377FC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CF056C32-7A84-A9D4-89D0-BC849FAA2EA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5975" y="1203325"/>
            <a:ext cx="4518024" cy="288000"/>
          </a:xfrm>
          <a:solidFill>
            <a:schemeClr val="tx2"/>
          </a:solidFill>
        </p:spPr>
        <p:txBody>
          <a:bodyPr lIns="180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92A49B6E-A094-406B-8A7B-439ACD71C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AB3A3B4-3B47-F649-7989-9CCBB1B9B6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062082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6547B6F-45E7-79CD-FBC5-7EA75A4E490F}"/>
              </a:ext>
            </a:extLst>
          </p:cNvPr>
          <p:cNvSpPr/>
          <p:nvPr userDrawn="1"/>
        </p:nvSpPr>
        <p:spPr>
          <a:xfrm>
            <a:off x="4625975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AA45BB9-F719-DFDD-01BB-00DF14D1B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8D95371-113D-EB43-7492-63DC29D2F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3409834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bg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21C91AF-2BD0-3B42-9216-CE44E7AB59B9}"/>
              </a:ext>
            </a:extLst>
          </p:cNvPr>
          <p:cNvSpPr/>
          <p:nvPr userDrawn="1"/>
        </p:nvSpPr>
        <p:spPr>
          <a:xfrm>
            <a:off x="4627564" y="1203325"/>
            <a:ext cx="4516436" cy="3455988"/>
          </a:xfrm>
          <a:prstGeom prst="rect">
            <a:avLst/>
          </a:prstGeom>
          <a:solidFill>
            <a:srgbClr val="B4AFA8">
              <a:alpha val="2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6662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7D9EEDDF-BB63-7D24-1F54-6998B1BC1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855A2854-594B-B528-077E-6A0ABB91F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2005430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491325"/>
            <a:ext cx="5976937" cy="31679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36DE5539-0B1F-7BF5-E600-B32BA4EBC09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F01C9181-1360-20B5-E376-F4097B2747D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807DF96-15FB-F09E-A5EC-A502E4CFF5C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7BC3BDB0-ED17-E746-1677-A3D429A3A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0E208B4-317D-6D8A-675F-4469F4ECF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612287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199033"/>
            <a:ext cx="5976937" cy="34602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2300D589-CD16-7D76-014B-E73850E6B85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915F0A6-2899-B4AB-B641-9AF12FBA3A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1D01E259-B896-7959-2206-7B7483D9A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8396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491325"/>
            <a:ext cx="2810388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1BCCB72F-C1BB-78C9-9107-B24476CB54C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5F36F81B-9624-E545-4C8A-E8F2A24623A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3B301552-A78C-E04E-A9CF-2E25A9EED99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C5679021-E1C2-1CA6-1079-D757B26786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080CBCAF-A3FD-C191-4B12-3B1B9C418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51174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F17889D-0D2F-553F-4245-B1BECE8C757B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C2B2797E-EC7F-2373-FC1C-54053639F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5421AC16-C00D-F0D0-70FB-48D1881F5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94748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198800"/>
            <a:ext cx="3059625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198800"/>
            <a:ext cx="2810388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7F007ED-22AE-DB83-FB66-E9D072380C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201D443F-4B3C-8FF1-2501-A7DCD67225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3EDEC709-0F04-20E2-B774-4B068482E9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9940577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6FE8E4C6-30D3-9646-88A2-8232F05F0886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5974" y="1491324"/>
            <a:ext cx="4230689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59AFFF7D-D03E-AF47-8F9B-41301CC034D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87336" y="1491325"/>
            <a:ext cx="4229102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3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B0F3D51-540D-3BB7-1027-BDEBCA9DC61A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42291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54FA7A8-CC6B-E7F0-1157-F3C7CE049BEE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4624383" y="1203325"/>
            <a:ext cx="4232279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A3F5C60D-24B1-662F-46A1-E572A3C84759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6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DBA7810-AC23-302B-9C4A-2309391F35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DA797397-67F3-D7B2-7EE8-CC7C3AE7FF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1851442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" name="Inhaltsplatzhalter 14">
            <a:extLst>
              <a:ext uri="{FF2B5EF4-FFF2-40B4-BE49-F238E27FC236}">
                <a16:creationId xmlns:a16="http://schemas.microsoft.com/office/drawing/2014/main" id="{FC117AC4-6744-13D5-D2B3-0ACD0E8CCD7B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4229099" cy="1692275"/>
          </a:xfrm>
        </p:spPr>
        <p:txBody>
          <a:bodyPr/>
          <a:lstStyle/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38AC2159-FD23-2C28-1EAD-8141743E5997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4644250" y="1203324"/>
            <a:ext cx="4229099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CF46C5-CF13-716D-4F16-2F29A874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32A7349-1C13-EFAE-52CB-2232422D2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55517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8E135B50-9447-556F-5532-CB29D5AF03DE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96090" y="1491325"/>
            <a:ext cx="2761200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93890B78-D2BB-86BD-30B2-BFC302881B59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490400"/>
            <a:ext cx="2760662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A09F85D8-009E-87F6-892B-3C6E580008C6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93FF3B0-66CE-DD37-EC65-65105F1CBBF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A496DDE3-D30A-8219-5633-79290B07CCD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D59928A0-E88E-668B-4A8D-FDF3435F9515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itel 11">
            <a:extLst>
              <a:ext uri="{FF2B5EF4-FFF2-40B4-BE49-F238E27FC236}">
                <a16:creationId xmlns:a16="http://schemas.microsoft.com/office/drawing/2014/main" id="{4025921E-D896-36DB-1869-83D2051E7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9B41C72B-E9BE-1D5F-DD76-1E1D74093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0754108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CD9D71E-57C6-BC0F-7B1A-6C2BDD01E9F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7E981E7A-3085-4CE9-F518-86C6BDB59BB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F56BE2D-C830-6D63-44DB-3855F570B2C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Inhaltsplatzhalter 14">
            <a:extLst>
              <a:ext uri="{FF2B5EF4-FFF2-40B4-BE49-F238E27FC236}">
                <a16:creationId xmlns:a16="http://schemas.microsoft.com/office/drawing/2014/main" id="{F3E7C646-723E-83D0-1F6E-83B40E5E3E4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  <a:p>
            <a:pPr lvl="0"/>
            <a:endParaRPr lang="en-US" noProof="0"/>
          </a:p>
        </p:txBody>
      </p:sp>
      <p:sp>
        <p:nvSpPr>
          <p:cNvPr id="18" name="Inhaltsplatzhalter 14">
            <a:extLst>
              <a:ext uri="{FF2B5EF4-FFF2-40B4-BE49-F238E27FC236}">
                <a16:creationId xmlns:a16="http://schemas.microsoft.com/office/drawing/2014/main" id="{3B793DEB-BF73-13C0-F2D6-35B644125E5B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319166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19" name="Inhaltsplatzhalter 14">
            <a:extLst>
              <a:ext uri="{FF2B5EF4-FFF2-40B4-BE49-F238E27FC236}">
                <a16:creationId xmlns:a16="http://schemas.microsoft.com/office/drawing/2014/main" id="{584A44A6-0EFF-7A22-3E12-E5A798C4E8EC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6115050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11CCF8-F308-9891-65E5-D55077A01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77BE5D4-2CED-45FF-7AFC-89568CBF8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369754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ED689C87-1C8F-DDC0-67E7-FB31266990A8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4" name="Bildplatzhalter 14">
            <a:extLst>
              <a:ext uri="{FF2B5EF4-FFF2-40B4-BE49-F238E27FC236}">
                <a16:creationId xmlns:a16="http://schemas.microsoft.com/office/drawing/2014/main" id="{28B3771B-BD48-D14A-B01E-6FC435377A71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287338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7" name="Bildplatzhalter 14">
            <a:extLst>
              <a:ext uri="{FF2B5EF4-FFF2-40B4-BE49-F238E27FC236}">
                <a16:creationId xmlns:a16="http://schemas.microsoft.com/office/drawing/2014/main" id="{13E9E11A-3FE5-403D-B470-815EF3F5302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1" name="Bildplatzhalter 14">
            <a:extLst>
              <a:ext uri="{FF2B5EF4-FFF2-40B4-BE49-F238E27FC236}">
                <a16:creationId xmlns:a16="http://schemas.microsoft.com/office/drawing/2014/main" id="{501B6E30-B68F-4283-9E2A-A820A346785E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5" name="Bildplatzhalter 14">
            <a:extLst>
              <a:ext uri="{FF2B5EF4-FFF2-40B4-BE49-F238E27FC236}">
                <a16:creationId xmlns:a16="http://schemas.microsoft.com/office/drawing/2014/main" id="{25358A25-F640-4F2E-8AF9-4EF756A2EB58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9ECA20-05D0-B26E-A1C4-7B6F91F47A7A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C2847E2-7DB5-5A97-C8AB-9FF59D0858DA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462863-118D-05ED-F263-B97F525AB968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AC80185-3BEA-2638-48E7-FFE2594AD256}"/>
              </a:ext>
            </a:extLst>
          </p:cNvPr>
          <p:cNvSpPr>
            <a:spLocks noGrp="1"/>
          </p:cNvSpPr>
          <p:nvPr>
            <p:ph type="body" sz="quarter" idx="61" hasCustomPrompt="1"/>
            <p:custDataLst>
              <p:tags r:id="rId5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B3CDFF2-B488-0B9C-2C69-725CB4F765A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C9F4D035-FA9F-D4B7-2DB3-603973288C3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CD711393-56C5-1553-D9FA-54C651AAFF4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63748E3-13E6-B4C4-F169-E9F6E746F8C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0D053AA0-E78E-D408-88DE-178DEF7767D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F80B05FF-8144-6D2E-A064-1A2E9C1E92A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24701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72CBF6C3-BF10-C623-B0BF-11B410A9033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464876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9C1C6E2D-B422-AA6D-2CB6-461CA2B8A6A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82579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6F0F6040-5672-3809-9559-7DA525B8A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342FA58-EF9F-60A1-9DD8-AA7DAAA1DC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2665988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BE675753-1D70-B680-B017-6BB666ED354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0CCB1081-E697-134A-13B4-B700F91ACE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D1EC8A51-B17D-665D-507E-60654AD797C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1F7CB1AD-41BC-153F-E2F0-9A462C77E41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6" name="Inhaltsplatzhalter 14">
            <a:extLst>
              <a:ext uri="{FF2B5EF4-FFF2-40B4-BE49-F238E27FC236}">
                <a16:creationId xmlns:a16="http://schemas.microsoft.com/office/drawing/2014/main" id="{2126A575-37FA-6F27-285D-19511896AC2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7" name="Inhaltsplatzhalter 14">
            <a:extLst>
              <a:ext uri="{FF2B5EF4-FFF2-40B4-BE49-F238E27FC236}">
                <a16:creationId xmlns:a16="http://schemas.microsoft.com/office/drawing/2014/main" id="{DDF43996-9B15-4FFD-B5E4-E8943447D2B9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2462892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8" name="Inhaltsplatzhalter 14">
            <a:extLst>
              <a:ext uri="{FF2B5EF4-FFF2-40B4-BE49-F238E27FC236}">
                <a16:creationId xmlns:a16="http://schemas.microsoft.com/office/drawing/2014/main" id="{23C41FF9-BF40-EA56-28BD-8FC1A24195BE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4638446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076BD9F5-A23A-118F-90F4-EFAFF22A608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681846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352FED-61A5-F451-DAE7-D4EBD1A56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1983DB6-78CE-0020-9A2F-0FC4674303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10137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72E215C-9B90-8325-FF4D-F8533522A452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C96D884F-FB18-473F-9F99-95F0C6DE5715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CEB8FC9-903B-ACA5-B82D-63BD92856A6F}"/>
              </a:ext>
            </a:extLst>
          </p:cNvPr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E83D1F2-6EBE-AEFE-83AA-AFE4E9BC0873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4C82858-A851-F2EB-D4C8-DBF4E27DD584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E63B4035-F356-E34C-81D7-7E9EA696CA5C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2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56FD5569-E27B-D2C4-EF4D-2BA554E2BA26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3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A99CEFC4-01DE-F81A-AB88-C2C27AA58742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4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1E9E0E3C-8007-9F8B-EDC9-D79649A90C23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5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449B5AE2-AF90-0806-1EB4-EF5F94A627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EDFAA52-2E77-5CB7-E489-A7B83BFB219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A72C7519-7B30-10B1-B3D8-3B3278B8E7C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7628DED-6862-89C1-F5A6-72EE674BC97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3BA4C36A-C85F-6AE7-DB5E-433BFA37DF65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6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F2D317A-D881-FE52-68F5-C1CCE2C2C60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8E49E85A-8506-47E7-C891-51E570BB5146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AABA3176-9D38-6D8D-B32F-84B8B4A132B1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2F30F3B-C0B4-F8B9-5948-321CA405D4D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8C3C8EFC-9980-E696-0FC2-53C28AFB59FB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2F2A03D5-9BF6-6A78-883C-5B4F18D6203D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55061F5B-173D-B039-3723-3C6CF30C8C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3673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EB2DC61-02E2-C6C7-ECC3-754A449CFE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3674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085458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-17145" y="1203325"/>
            <a:ext cx="9144000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026578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376917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5511773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4F38A308-67CD-59C3-0DAC-6DEB51D7215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34739CE4-470E-414C-F24C-6BA7C2CF8E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2E4894B-99FD-C146-3E75-2A16F0F487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44932246-ABA9-D5C1-6D02-BE9CADC6826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E6B9774-D3D8-AFF8-B534-7533198E27E9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5"/>
            </p:custDataLst>
          </p:nvPr>
        </p:nvSpPr>
        <p:spPr>
          <a:xfrm>
            <a:off x="7254369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7CB74EB-8F38-E27A-EC09-819707173B2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B3A6A403-576C-64FE-53A2-A63D85853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3673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467A9FA3-3A43-662E-8CE7-AF54317142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3674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62834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8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591303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4895370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71994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F292A2A-4701-E140-AC7B-6015C856A765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2591369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F68539C-C1A9-AE4D-96E1-F1E00CD9D2E6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4895402" y="2564053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6C45458-61B5-8040-805A-45517977084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7"/>
            </p:custDataLst>
          </p:nvPr>
        </p:nvSpPr>
        <p:spPr>
          <a:xfrm>
            <a:off x="71994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E6A6EDA6-9B8C-834B-8B93-CFF5CC06E7E6}"/>
              </a:ext>
            </a:extLst>
          </p:cNvPr>
          <p:cNvSpPr>
            <a:spLocks noGrp="1"/>
          </p:cNvSpPr>
          <p:nvPr>
            <p:ph type="pic" sz="quarter" idx="26" hasCustomPrompt="1"/>
            <p:custDataLst>
              <p:tags r:id="rId8"/>
            </p:custDataLst>
          </p:nvPr>
        </p:nvSpPr>
        <p:spPr>
          <a:xfrm>
            <a:off x="2872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8A3DCAA-FE44-9841-BFF2-A40F00653831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2873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C192229C-AEF2-E74F-9E80-9CD67FED354E}"/>
              </a:ext>
            </a:extLst>
          </p:cNvPr>
          <p:cNvSpPr>
            <a:spLocks noGrp="1"/>
          </p:cNvSpPr>
          <p:nvPr>
            <p:ph type="pic" sz="quarter" idx="28" hasCustomPrompt="1"/>
            <p:custDataLst>
              <p:tags r:id="rId10"/>
            </p:custDataLst>
          </p:nvPr>
        </p:nvSpPr>
        <p:spPr>
          <a:xfrm>
            <a:off x="2591303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D25526F9-1F13-914D-86FC-279DFD7BB05A}"/>
              </a:ext>
            </a:extLst>
          </p:cNvPr>
          <p:cNvSpPr>
            <a:spLocks noGrp="1"/>
          </p:cNvSpPr>
          <p:nvPr>
            <p:ph type="pic" sz="quarter" idx="29" hasCustomPrompt="1"/>
            <p:custDataLst>
              <p:tags r:id="rId11"/>
            </p:custDataLst>
          </p:nvPr>
        </p:nvSpPr>
        <p:spPr>
          <a:xfrm>
            <a:off x="4895370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43DA012-6A0A-F54B-8416-26E96F547CB3}"/>
              </a:ext>
            </a:extLst>
          </p:cNvPr>
          <p:cNvSpPr>
            <a:spLocks noGrp="1"/>
          </p:cNvSpPr>
          <p:nvPr>
            <p:ph type="pic" sz="quarter" idx="30" hasCustomPrompt="1"/>
            <p:custDataLst>
              <p:tags r:id="rId12"/>
            </p:custDataLst>
          </p:nvPr>
        </p:nvSpPr>
        <p:spPr>
          <a:xfrm>
            <a:off x="71994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2DD13F0-50DC-6944-A174-25848F2F14EB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13"/>
            </p:custDataLst>
          </p:nvPr>
        </p:nvSpPr>
        <p:spPr>
          <a:xfrm>
            <a:off x="2591369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endParaRPr lang="en-US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B3FB6B7-6360-E447-BEBA-770F0EDEC7AB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14"/>
            </p:custDataLst>
          </p:nvPr>
        </p:nvSpPr>
        <p:spPr>
          <a:xfrm>
            <a:off x="4895402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CE4EBBB-B9D5-6C4E-A9F5-6EEE14528FD3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15"/>
            </p:custDataLst>
          </p:nvPr>
        </p:nvSpPr>
        <p:spPr>
          <a:xfrm>
            <a:off x="71994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4D43EA28-050F-4DFC-6BAF-F52350EF7F58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6"/>
            </p:custDataLst>
          </p:nvPr>
        </p:nvSpPr>
        <p:spPr>
          <a:xfrm>
            <a:off x="2872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565755-8502-1B4E-1167-D7D9F1CCB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3F56A09-2DFC-6C41-1375-351AAD0AD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92151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4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6E84F34D-7729-8749-BAB7-3E3902464D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CD7442F5-9C17-EFEC-65FD-A6E46A23694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2102599"/>
            <a:ext cx="5976936" cy="774000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Zapf Dingbats"/>
              <a:buChar char="❯"/>
              <a:defRPr sz="1100" b="0" i="0" cap="all" baseline="0">
                <a:solidFill>
                  <a:schemeClr val="tx1"/>
                </a:solidFill>
              </a:defRPr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3485C58B-D4B5-D243-F977-3395B75946E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0" y="2993236"/>
            <a:ext cx="5976936" cy="774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b="0" i="0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30482870-8CEE-F28B-8DDA-986884BFFE6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3885313"/>
            <a:ext cx="5976936" cy="774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b="0" i="0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29EFE4A-B926-6832-54C2-7E612BAAF2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1210522"/>
            <a:ext cx="5976936" cy="774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FE86604F-582A-9C8C-433B-66D29828A2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C51DD61-C125-DB2B-4C7A-59AD12717D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F798641-051E-BB7B-7E60-ADABE700AB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8393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491325"/>
            <a:ext cx="2761200" cy="3167988"/>
          </a:xfrm>
          <a:solidFill>
            <a:schemeClr val="tx2">
              <a:alpha val="15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3698CB2-24AC-CA51-509B-79EC684F32F9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196800" y="1491325"/>
            <a:ext cx="2761200" cy="3167988"/>
          </a:xfrm>
          <a:solidFill>
            <a:schemeClr val="tx2">
              <a:alpha val="3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BF069785-703B-5AE9-B559-DAEEA8CDDF5E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6084000" y="1491325"/>
            <a:ext cx="2761200" cy="3167988"/>
          </a:xfrm>
          <a:solidFill>
            <a:schemeClr val="tx2">
              <a:alpha val="5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7B8EA88B-090D-ABD7-2282-5E5604216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774DF7B3-2BDA-FDA4-7533-98A35BABAA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837656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761200" cy="3455988"/>
          </a:xfrm>
          <a:solidFill>
            <a:schemeClr val="tx2">
              <a:alpha val="1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196800" y="1202400"/>
            <a:ext cx="2761200" cy="3455988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095463" y="1202400"/>
            <a:ext cx="2761200" cy="3455988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FDC17F11-711A-9D52-699C-6A30D1D36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53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D2EE9CE-4328-EDD5-FB8C-B6A80D0EAC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53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7AB32E7B-05BE-9515-A3E0-691C8EBD099A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451935" y="1347325"/>
            <a:ext cx="432000" cy="43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E0112D8F-FC89-17F3-899B-C763DE976149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4365792" y="1347325"/>
            <a:ext cx="432000" cy="4320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" name="Onlinebild-Platzhalter 10">
            <a:extLst>
              <a:ext uri="{FF2B5EF4-FFF2-40B4-BE49-F238E27FC236}">
                <a16:creationId xmlns:a16="http://schemas.microsoft.com/office/drawing/2014/main" id="{358ECE8F-B76C-3EB6-CE24-8952B8F98BFB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7240488" y="1347325"/>
            <a:ext cx="432000" cy="4320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462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C1CBEC77-D501-1CF3-0791-A9BE94B4298E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4" y="1487678"/>
            <a:ext cx="2027241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363A012-E2DD-F426-8016-AE1429876F60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469600" y="1487678"/>
            <a:ext cx="2027241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30BD902-AA13-400C-0657-4F628A59E1C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4647600" y="1487678"/>
            <a:ext cx="2027241" cy="3171635"/>
          </a:xfrm>
          <a:solidFill>
            <a:schemeClr val="tx2">
              <a:alpha val="35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8F01AEE-F98F-A0B1-54ED-0B2BD7F1836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6825600" y="1487678"/>
            <a:ext cx="2027241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E376CD2-1968-0C62-85D9-F4B807B1C84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8762C523-8648-ADD0-08CB-74A88171B84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EA3269-B6DF-A477-2857-509F43069D43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9705286-E45D-4F96-0C9C-F9612653788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CBCDA9-31E4-0841-7F1D-996C653C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C18D7F2-F2FC-B9F1-C422-CB53DFFD6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69801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8">
            <a:extLst>
              <a:ext uri="{FF2B5EF4-FFF2-40B4-BE49-F238E27FC236}">
                <a16:creationId xmlns:a16="http://schemas.microsoft.com/office/drawing/2014/main" id="{3C5A57B6-B614-662B-8176-1FA923B6ADD2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825600" y="1202400"/>
            <a:ext cx="2026800" cy="3456000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4647600" y="1202400"/>
            <a:ext cx="2026800" cy="3456000"/>
          </a:xfrm>
          <a:solidFill>
            <a:schemeClr val="tx2">
              <a:alpha val="3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469600" y="1202400"/>
            <a:ext cx="2026800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026800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1009D99C-C149-92FA-8A29-58475DA1A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0BECC9FE-6AB4-63DE-A30C-3DE09460BD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A48BDC0C-544E-CBE1-3618-6D201C4D9658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084735" y="1347325"/>
            <a:ext cx="432000" cy="4320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FEEBEDBC-B947-276D-711A-B67B746F34BA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3264867" y="1347325"/>
            <a:ext cx="432000" cy="4320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2" name="Onlinebild-Platzhalter 10">
            <a:extLst>
              <a:ext uri="{FF2B5EF4-FFF2-40B4-BE49-F238E27FC236}">
                <a16:creationId xmlns:a16="http://schemas.microsoft.com/office/drawing/2014/main" id="{29D86E22-4A3E-8DB0-397B-85784E090F7E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5445000" y="1347325"/>
            <a:ext cx="432000" cy="432000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7" name="Onlinebild-Platzhalter 10">
            <a:extLst>
              <a:ext uri="{FF2B5EF4-FFF2-40B4-BE49-F238E27FC236}">
                <a16:creationId xmlns:a16="http://schemas.microsoft.com/office/drawing/2014/main" id="{2C821CAD-BBF8-157C-D58C-347EA310BF4D}"/>
              </a:ext>
            </a:extLst>
          </p:cNvPr>
          <p:cNvSpPr>
            <a:spLocks noGrp="1"/>
          </p:cNvSpPr>
          <p:nvPr>
            <p:ph type="clipArt" sz="quarter" idx="79" hasCustomPrompt="1"/>
            <p:custDataLst>
              <p:tags r:id="rId4"/>
            </p:custDataLst>
          </p:nvPr>
        </p:nvSpPr>
        <p:spPr>
          <a:xfrm>
            <a:off x="7623000" y="1347325"/>
            <a:ext cx="432000" cy="432000"/>
          </a:xfr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0319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8716EE9-0476-FCD4-A1F2-CE9F5F9724D1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49FF96AF-F0A4-0EF9-A20F-37E558380BB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5CACEEB-997D-EB30-AE3B-F92ECF2FD82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A1BF6B7-007B-9673-832D-81035ED3079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7500EB92-70BB-8ADD-782F-CF79BFA55953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8E9917FA-1000-8B45-6CBF-D200E5BDE738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87335" y="1487678"/>
            <a:ext cx="1602000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26F900F2-68A0-3747-EB88-5CA4EACD99A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2026680" y="1487678"/>
            <a:ext cx="1602000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8F151C0-593D-8DE6-2D56-ABF8395ADE6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771000" y="1487678"/>
            <a:ext cx="1602000" cy="3171635"/>
          </a:xfrm>
          <a:solidFill>
            <a:schemeClr val="tx2">
              <a:alpha val="3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69C58877-82C2-0E3F-5202-C22BCD52F92A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511824" y="1487678"/>
            <a:ext cx="1602000" cy="3171635"/>
          </a:xfrm>
          <a:solidFill>
            <a:schemeClr val="tx2">
              <a:alpha val="4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9A2357E3-72F5-4E2E-9575-64FC31ED168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7252648" y="1487678"/>
            <a:ext cx="1602000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A80DA96-C85A-4656-2A27-E19EAE8934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530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DAAABA8-28CE-27D5-CA4B-4845BA9825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1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39924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9DA7C3AE-648A-B07C-1DE8-355083741B38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252647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7812B5F-105F-406D-C0BE-25DB7C074B26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5511570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8B9D7B1C-A2B4-DFF5-FC38-19DF8A876F00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3770493" y="1203325"/>
            <a:ext cx="1604017" cy="3456000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E2AA0046-4389-4380-1ECD-9EEBCE630E5B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2024663" y="1203325"/>
            <a:ext cx="1604017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A37EA99-5F1C-DE59-DB1D-3214C80E459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1604017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6ECCF-C624-5F9D-28FA-D9BBADF64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6965308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636A2B57-C69E-6B57-526E-EC21C565B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09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D100A5EB-C2E9-F664-1F5C-F97A940D7A80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873343" y="1347326"/>
            <a:ext cx="432000" cy="4320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3668D351-F459-5C57-6569-6FDF9ABDFFA6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2610671" y="1347326"/>
            <a:ext cx="432000" cy="4320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Onlinebild-Platzhalter 10">
            <a:extLst>
              <a:ext uri="{FF2B5EF4-FFF2-40B4-BE49-F238E27FC236}">
                <a16:creationId xmlns:a16="http://schemas.microsoft.com/office/drawing/2014/main" id="{B16EB012-6B9E-8088-8396-9DAD2D1F7AF7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4356000" y="1347326"/>
            <a:ext cx="432000" cy="432000"/>
          </a:xfr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" name="Onlinebild-Platzhalter 10">
            <a:extLst>
              <a:ext uri="{FF2B5EF4-FFF2-40B4-BE49-F238E27FC236}">
                <a16:creationId xmlns:a16="http://schemas.microsoft.com/office/drawing/2014/main" id="{1D9BDACA-0FC2-5FC6-B7DD-2CCB2104DAAA}"/>
              </a:ext>
            </a:extLst>
          </p:cNvPr>
          <p:cNvSpPr>
            <a:spLocks noGrp="1"/>
          </p:cNvSpPr>
          <p:nvPr>
            <p:ph type="clipArt" sz="quarter" idx="83" hasCustomPrompt="1"/>
            <p:custDataLst>
              <p:tags r:id="rId4"/>
            </p:custDataLst>
          </p:nvPr>
        </p:nvSpPr>
        <p:spPr>
          <a:xfrm>
            <a:off x="6097578" y="1347326"/>
            <a:ext cx="432000" cy="432000"/>
          </a:xfr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260D7452-E73A-D439-9A67-6981E1104273}"/>
              </a:ext>
            </a:extLst>
          </p:cNvPr>
          <p:cNvSpPr>
            <a:spLocks noGrp="1"/>
          </p:cNvSpPr>
          <p:nvPr>
            <p:ph type="clipArt" sz="quarter" idx="88" hasCustomPrompt="1"/>
            <p:custDataLst>
              <p:tags r:id="rId5"/>
            </p:custDataLst>
          </p:nvPr>
        </p:nvSpPr>
        <p:spPr>
          <a:xfrm>
            <a:off x="7838655" y="1347326"/>
            <a:ext cx="432000" cy="432000"/>
          </a:xfr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09119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D754083C-E015-F4C8-8027-C1E90E14D57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F37D654-47AA-2D93-E21C-4EA291A7A957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510F739E-6D43-C9BF-353A-E5C878E4D544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C965916-D702-E5D2-898E-FD989A2B2B1A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3245080-9CAB-277E-EDFE-5B634A35D70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682EAC47-4099-9FCF-7F08-5428DC91119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15F09679-97CB-46FB-DC96-CE57E162C79A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8879681D-D55B-3026-1EB5-F2574B8872B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4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91B1A31A-EFBC-2A2C-E9C5-64F610FE84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67058" y="1491325"/>
            <a:ext cx="2809874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EF3354DA-E26A-37E0-EB81-9EBC9723358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5A26D930-E019-F8B5-259E-CD62D44A64A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E4030DFD-EC80-3D25-4928-A12DE2CD9FF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CB9C88D-3C5F-3D1C-855B-03897AE1F1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D1E4D73-0064-150F-2E3B-C276E85E7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DD52539-0245-90D9-B222-01CB8285AA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7120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0E2F52A-6CFC-1949-B2C0-9743CFBA920F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BDB0E054-BD24-A34B-9B3D-6D5B54882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8EFE3EB5-19EC-6A4C-8583-81E27ED57EAF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67062" y="1491324"/>
            <a:ext cx="2809876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2E6944D-BDB1-7243-9A79-FB8ABCD00D47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527324"/>
            <a:ext cx="2760662" cy="13652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8C8F5B71-A61B-422C-B970-E2734375960F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7D2DB278-C200-6068-B3AB-4EB9D2522A7B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0744E7-A101-3844-3C3E-A961B0D0BCCE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4AF206A4-FEDF-F598-F53C-5F01FE10F68F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6A727C03-1D2F-C773-8BAA-A31573F3D57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5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A4D66FB-851A-8EF7-42C2-02278A9B550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2D6A39DC-3D7B-DD2B-EA33-0A39310C71C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869505B4-AD49-DEE7-FAB9-34E8CD917E8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8AEBC1B-CD1B-72A3-8A33-EBDEA5E2E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148FC1A-BC1D-B42A-C5B6-E3AF299D2E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6431DF0-4BF4-E6A8-E320-FE66873747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5360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A16F8E9-0770-1C6E-6717-F2DB93CCB58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334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EEAEF662-3337-B1A6-F65A-A89B9F1D404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469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ECF7EF7B-90B9-F4C4-AC15-59C8909810D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647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A343C70E-0DAB-041F-057B-94769620D62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825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FB2FCE36-57B3-36EB-3DAF-8D9A540C5FDB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9" name="Textplatzhalter 13">
            <a:extLst>
              <a:ext uri="{FF2B5EF4-FFF2-40B4-BE49-F238E27FC236}">
                <a16:creationId xmlns:a16="http://schemas.microsoft.com/office/drawing/2014/main" id="{412F84D3-1FC1-A5E6-0FEA-C0D2B9C3FC1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0" name="Textplatzhalter 13">
            <a:extLst>
              <a:ext uri="{FF2B5EF4-FFF2-40B4-BE49-F238E27FC236}">
                <a16:creationId xmlns:a16="http://schemas.microsoft.com/office/drawing/2014/main" id="{D9C3A974-C9C0-06C3-561E-8BCDB52B10EE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1" name="Textplatzhalter 13">
            <a:extLst>
              <a:ext uri="{FF2B5EF4-FFF2-40B4-BE49-F238E27FC236}">
                <a16:creationId xmlns:a16="http://schemas.microsoft.com/office/drawing/2014/main" id="{D61CC285-1E27-F5BA-06A8-99356A0683E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B013969B-56C9-9D9E-65F9-DC70D109115C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F62F4DD2-42C1-E530-34A0-F963C86268FB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935F52D-0060-0E29-EE13-651694724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0F028DE7-CEEF-A00D-EDA1-34985F3331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636371A-A33D-4A99-F4EB-023CB3CAA5A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1968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FF4417A-17F4-11EF-F121-46850D5C2ABE}"/>
              </a:ext>
            </a:extLst>
          </p:cNvPr>
          <p:cNvSpPr>
            <a:spLocks noGrp="1"/>
          </p:cNvSpPr>
          <p:nvPr>
            <p:ph type="pic" sz="quarter" idx="72" hasCustomPrompt="1"/>
            <p:custDataLst>
              <p:tags r:id="rId1"/>
            </p:custDataLst>
          </p:nvPr>
        </p:nvSpPr>
        <p:spPr>
          <a:xfrm>
            <a:off x="287338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C4EEA937-61B7-FFE9-4DE0-397C64D17A0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58B3653-ACDD-F612-B347-38D5093B6ED4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14">
            <a:extLst>
              <a:ext uri="{FF2B5EF4-FFF2-40B4-BE49-F238E27FC236}">
                <a16:creationId xmlns:a16="http://schemas.microsoft.com/office/drawing/2014/main" id="{9909A5AC-617C-881F-6A68-76A87B36D970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6AB41A3C-239F-1A41-560A-BEB5D1724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1EE73F05-43C5-41BC-5FAE-1C6184C5EDC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6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5199540-D6E6-7925-CC4E-D448E1364FC9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E7D664E0-8173-5108-3200-1C27340D9B4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4F7CCADB-A9C7-9BCD-D8F3-3C807D681EB6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E4A4647-4B2C-F467-CDE3-48F1AD1104FC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itel 11">
            <a:extLst>
              <a:ext uri="{FF2B5EF4-FFF2-40B4-BE49-F238E27FC236}">
                <a16:creationId xmlns:a16="http://schemas.microsoft.com/office/drawing/2014/main" id="{87ED38F3-99CC-D564-9E8B-7A1B4BC1C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FF4570F9-D6A4-BC6E-D1C7-EB1426EFD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5336D8B-3E64-6646-B7F8-BD547727CDF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969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5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3332227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4047313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  <a:endParaRPr lang="en-US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912959"/>
            <a:ext cx="5976936" cy="612000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622593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3325"/>
            <a:ext cx="5976936" cy="612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181E53F-A8E7-895A-ACC8-82133EDBD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211D1F3-7E16-5F35-ACE8-0269F18D7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1CAF7C-BF68-FDD9-08C7-3D68F63D3F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1285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43A27DA-9C4A-2E92-F425-AE93E8354BC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287335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4329F516-9BE0-C095-E168-0D4D34DAB55E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02668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B16DA48A-3F0E-6A75-8F08-C977BDC52C7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7100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2B6AEC3-AAE6-A98B-050B-2E22B37EB34F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11824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8EFDD83A-C9F2-C566-6B79-A55D26A1501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52648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8BDC80-3E28-4230-5FE1-E28F1B75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530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151CD0C-B238-4665-F793-1EAEBDAD4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1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F06A0F-75A4-35C5-5598-C9242D09ED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7545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193EF5D3-A5F5-8BA3-42C1-D27439B73AF5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3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B3B673A0-32AD-9303-9E86-AB3451AA327C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4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FEF61830-8315-E529-F230-252C6979A7FB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5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2A8BF909-2A0F-3BF1-279E-C2EF0C162A9F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6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5108A8FE-7AC6-979A-0C7A-E1B628BA2BC2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7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29852D4-626E-04B7-6468-52FFC5C79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6967030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8A4FD21-8135-60D6-C9A6-9FB886151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7031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D39E24B-FC65-3FA0-1A80-752379E8333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6070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1 row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780000" cy="2988508"/>
          </a:xfrm>
          <a:solidFill>
            <a:srgbClr val="B4AFA8">
              <a:alpha val="25098"/>
            </a:srgb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007AEDAC-BEEA-BE9E-DE24-5347D4A9B3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919C497-2478-91B4-982A-6F31575DEB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1DE20CF-0C2D-B230-F27F-3D81967D0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0774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2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988508"/>
            <a:ext cx="3780000" cy="1440000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0"/>
            <a:ext cx="3780000" cy="1440000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9BF13AAD-9EF5-3415-8248-50D8E48C6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8C9D67B-0EB0-9EC0-E9A8-F2D8350F8C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917D7A3-CE6F-243E-1DA1-298B49F1C7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5255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460588"/>
            <a:ext cx="3780000" cy="917999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1"/>
            <a:ext cx="3780000" cy="917999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C8AAE-967D-D672-51F2-9854644B420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3481175"/>
            <a:ext cx="3780000" cy="917999"/>
          </a:xfrm>
          <a:solidFill>
            <a:schemeClr val="tx2">
              <a:alpha val="4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el 11">
            <a:extLst>
              <a:ext uri="{FF2B5EF4-FFF2-40B4-BE49-F238E27FC236}">
                <a16:creationId xmlns:a16="http://schemas.microsoft.com/office/drawing/2014/main" id="{0F9526F5-C10B-8696-3781-DCB7C4709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752691F-9F5E-56BD-E8DB-32939F5A74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5762E57-A382-2367-3248-D73C393A26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8057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706564"/>
            <a:ext cx="277177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Bildplatzhalter 14">
            <a:extLst>
              <a:ext uri="{FF2B5EF4-FFF2-40B4-BE49-F238E27FC236}">
                <a16:creationId xmlns:a16="http://schemas.microsoft.com/office/drawing/2014/main" id="{7970463A-CC71-1947-9A58-220906ECFDCB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5"/>
            </p:custDataLst>
          </p:nvPr>
        </p:nvSpPr>
        <p:spPr>
          <a:xfrm>
            <a:off x="3167134" y="1706564"/>
            <a:ext cx="280980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76E17B-0EED-6B43-B7F1-A2DEC8B3FCD0}"/>
              </a:ext>
            </a:extLst>
          </p:cNvPr>
          <p:cNvSpPr>
            <a:spLocks noGrp="1"/>
          </p:cNvSpPr>
          <p:nvPr>
            <p:ph type="pic" sz="quarter" idx="27" hasCustomPrompt="1"/>
            <p:custDataLst>
              <p:tags r:id="rId6"/>
            </p:custDataLst>
          </p:nvPr>
        </p:nvSpPr>
        <p:spPr>
          <a:xfrm>
            <a:off x="6084855" y="1706564"/>
            <a:ext cx="2783421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C3AE632-C244-2EB9-7B86-A986E0CBC12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D68DB0A4-8EB4-B5C0-0B15-59C303E458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E164366C-411E-1F09-8058-DBDCE06CA59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4CDF72A-76DC-9457-3BBB-0B1A3CEE2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38ED0F7-E565-3ECE-26AE-523D55F402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4244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FCF92F0A-E389-14D9-7C13-94EBBD3F79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7F16E4-570C-82F5-7788-8DAA0E98AA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C46DAD6-97ED-4E65-3048-F45353BDA9F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1" name="Titel 11">
            <a:extLst>
              <a:ext uri="{FF2B5EF4-FFF2-40B4-BE49-F238E27FC236}">
                <a16:creationId xmlns:a16="http://schemas.microsoft.com/office/drawing/2014/main" id="{33780796-F8C3-5474-CB9B-9FC27D832E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7934439F-78B6-19E2-A2DC-F6D2ED57F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358914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8" y="1706564"/>
            <a:ext cx="202723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4B022C8-42B2-40FA-B071-0A7A19AFB32A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421505" y="1706564"/>
            <a:ext cx="209493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2" name="Bildplatzhalter 14">
            <a:extLst>
              <a:ext uri="{FF2B5EF4-FFF2-40B4-BE49-F238E27FC236}">
                <a16:creationId xmlns:a16="http://schemas.microsoft.com/office/drawing/2014/main" id="{A4B82496-48B6-4510-A20D-92B477D9753A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4625975" y="1706563"/>
            <a:ext cx="2066003" cy="11890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Bildplatzhalter 14">
            <a:extLst>
              <a:ext uri="{FF2B5EF4-FFF2-40B4-BE49-F238E27FC236}">
                <a16:creationId xmlns:a16="http://schemas.microsoft.com/office/drawing/2014/main" id="{9A91AA26-8914-41BD-89E6-BA30FABCEAD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6804026" y="1706564"/>
            <a:ext cx="2052638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08DE35C-7FAA-E7A1-12C6-E04C74A0A0D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A9734B69-7ADD-8F77-A8D9-0C4A8109C46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42150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7BCF610-04A3-F889-405F-8DA944E1493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62597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13239356-2DB2-5273-AA18-C41B0AA20B9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0402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E9E8E9B5-976E-FB38-A880-1C67E0304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B1090E4-9EF5-AC31-318D-D5E92F8EF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0328102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A5590BEC-534A-8F7D-C28E-2D505305C4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733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13C44415-5087-77D7-FFCC-CCBCF36EC8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426074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FE83D65-6BB9-2729-A88C-E8B308840B8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2597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9CC74EDB-7BF1-FD19-F20C-C1305FE6999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25876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55D5BDF2-AAF5-413D-DDC5-C7E785E1B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3F12F80-AEE5-A506-A373-DAA13B05E7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9675995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6" y="1706564"/>
            <a:ext cx="158433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C54750A-3041-479B-94C0-F4C281042279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044528" y="1706564"/>
            <a:ext cx="158805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3" name="Bildplatzhalter 14">
            <a:extLst>
              <a:ext uri="{FF2B5EF4-FFF2-40B4-BE49-F238E27FC236}">
                <a16:creationId xmlns:a16="http://schemas.microsoft.com/office/drawing/2014/main" id="{E1816455-AB7E-4BB4-931E-D118AFA994C2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3801237" y="1706564"/>
            <a:ext cx="1588054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220A2763-62C4-4F81-8DF6-8C0B4BCBAB8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7303055" y="1706564"/>
            <a:ext cx="155360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9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9" name="Bildplatzhalter 14">
            <a:extLst>
              <a:ext uri="{FF2B5EF4-FFF2-40B4-BE49-F238E27FC236}">
                <a16:creationId xmlns:a16="http://schemas.microsoft.com/office/drawing/2014/main" id="{23638CCB-041E-44B4-9A72-68D960DB25CD}"/>
              </a:ext>
            </a:extLst>
          </p:cNvPr>
          <p:cNvSpPr>
            <a:spLocks noGrp="1"/>
          </p:cNvSpPr>
          <p:nvPr>
            <p:ph type="pic" sz="quarter" idx="51" hasCustomPrompt="1"/>
            <p:custDataLst>
              <p:tags r:id="rId10"/>
            </p:custDataLst>
          </p:nvPr>
        </p:nvSpPr>
        <p:spPr>
          <a:xfrm>
            <a:off x="5556880" y="1706564"/>
            <a:ext cx="157858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A14EE704-B5FB-AB32-2F2F-6203DDE974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2C7717CC-9A81-5F6D-97D1-C4D2CED447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044528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01642409-1FFE-6036-4AF9-5BFD06FBEC8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801236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2A7F4E47-3A84-A7A8-7AB6-352AED9875A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556880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F22BF93A-4A33-0532-C092-70D26BD04F3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30305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60C77E45-1EBC-F577-D528-039B1268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7015716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F910CAD-66C7-C61B-A219-1B3401233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15717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4084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6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2977692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569147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94782"/>
            <a:ext cx="5976936" cy="498712"/>
          </a:xfrm>
          <a:solidFill>
            <a:srgbClr val="B4AFA8">
              <a:alpha val="24706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386237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1"/>
            <a:ext cx="5976936" cy="498712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4160602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6544AB88-A208-B4DC-0E46-610257586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54422BF1-25FB-3AE6-175B-00D0E60D13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3F9501F-B0A0-934D-615F-13ACC53446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050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5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EF4C9D9-1E0A-5DE1-D23F-92BEB357A85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620896C3-74FB-65FE-8AD2-305092ED925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44043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212084B9-40F0-7366-594E-900BAB84C56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8107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5291E66-58B4-F07E-07A9-0E3950D815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636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655D88AF-BBBB-7CE6-2E3F-88516DB4FA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2524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D2C1BF7-93CB-7E3A-94CB-71ED45347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2518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94E5BFC-D622-69EB-E149-C16655E74A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2518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703459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bulletpoints -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Marke 1 mit einfarbiger Füllung">
            <a:extLst>
              <a:ext uri="{FF2B5EF4-FFF2-40B4-BE49-F238E27FC236}">
                <a16:creationId xmlns:a16="http://schemas.microsoft.com/office/drawing/2014/main" id="{9143D4E8-82C7-7EE5-2650-9D9B9AD808B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7227" y="1553283"/>
            <a:ext cx="360000" cy="3600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05517341-621C-D866-07A9-4615AF3C648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D5B975A-2098-DB44-BD67-F370F7357289}"/>
              </a:ext>
            </a:extLst>
          </p:cNvPr>
          <p:cNvSpPr>
            <a:spLocks noGrp="1"/>
          </p:cNvSpPr>
          <p:nvPr>
            <p:ph type="body" sz="quarter" idx="41" hasCustomPrompt="1"/>
            <p:custDataLst>
              <p:tags r:id="rId1"/>
            </p:custDataLst>
          </p:nvPr>
        </p:nvSpPr>
        <p:spPr>
          <a:xfrm>
            <a:off x="762935" y="15561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98291036-AD06-2669-60DF-E92B18A90C2F}"/>
              </a:ext>
            </a:extLst>
          </p:cNvPr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443873B2-4BC2-872F-CC99-DBB7DC4FBB6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006BA99-5C67-8B7B-AEED-3857FF4D26A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Bildplatzhalter 4">
            <a:extLst>
              <a:ext uri="{FF2B5EF4-FFF2-40B4-BE49-F238E27FC236}">
                <a16:creationId xmlns:a16="http://schemas.microsoft.com/office/drawing/2014/main" id="{00927770-0F52-1E71-EA8A-25718B045357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625976" y="1199034"/>
            <a:ext cx="4518024" cy="3460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cs-CZ" noProof="0"/>
              <a:t>Kliknutím na ikonu přidáte obrázek.</a:t>
            </a:r>
            <a:endParaRPr lang="en-US" noProof="0"/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D4A08535-39A8-6F7C-4C9A-AC56E18ACE4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3"/>
            </p:custDataLst>
          </p:nvPr>
        </p:nvSpPr>
        <p:spPr>
          <a:xfrm>
            <a:off x="762935" y="202996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35B7EFEB-7C22-5DD0-77CD-72CE0D04F2E8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4"/>
            </p:custDataLst>
          </p:nvPr>
        </p:nvSpPr>
        <p:spPr>
          <a:xfrm>
            <a:off x="762935" y="25038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1A15452E-0182-D25E-E827-63ABF86712E1}"/>
              </a:ext>
            </a:extLst>
          </p:cNvPr>
          <p:cNvSpPr>
            <a:spLocks noGrp="1"/>
          </p:cNvSpPr>
          <p:nvPr>
            <p:ph type="body" sz="quarter" idx="52" hasCustomPrompt="1"/>
            <p:custDataLst>
              <p:tags r:id="rId5"/>
            </p:custDataLst>
          </p:nvPr>
        </p:nvSpPr>
        <p:spPr>
          <a:xfrm>
            <a:off x="762935" y="2977325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47724EA4-B150-27B7-3960-4ECFDFE85087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6"/>
            </p:custDataLst>
          </p:nvPr>
        </p:nvSpPr>
        <p:spPr>
          <a:xfrm>
            <a:off x="762935" y="3450838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97ADD304-2D6E-BAE1-306D-74A08454E3A2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7"/>
            </p:custDataLst>
          </p:nvPr>
        </p:nvSpPr>
        <p:spPr>
          <a:xfrm>
            <a:off x="762935" y="3927517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AFDC0BBF-67BB-F45E-CAE5-C4CAD70D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4195880-0F11-219A-8398-C3D6C27EEF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8" name="Grafik 7" descr="Abzeichen mit einfarbiger Füllung">
            <a:extLst>
              <a:ext uri="{FF2B5EF4-FFF2-40B4-BE49-F238E27FC236}">
                <a16:creationId xmlns:a16="http://schemas.microsoft.com/office/drawing/2014/main" id="{FF5C3029-D624-B129-CA10-11BC049FA6D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9219" y="2034628"/>
            <a:ext cx="360000" cy="360000"/>
          </a:xfrm>
          <a:prstGeom prst="rect">
            <a:avLst/>
          </a:prstGeom>
        </p:spPr>
      </p:pic>
      <p:pic>
        <p:nvPicPr>
          <p:cNvPr id="11" name="Grafik 10" descr="Marke 3 mit einfarbiger Füllung">
            <a:extLst>
              <a:ext uri="{FF2B5EF4-FFF2-40B4-BE49-F238E27FC236}">
                <a16:creationId xmlns:a16="http://schemas.microsoft.com/office/drawing/2014/main" id="{D3D3C765-E772-2625-0F6A-0E05BF48EC2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3885" y="2499727"/>
            <a:ext cx="360000" cy="360000"/>
          </a:xfrm>
          <a:prstGeom prst="rect">
            <a:avLst/>
          </a:prstGeom>
        </p:spPr>
      </p:pic>
      <p:pic>
        <p:nvPicPr>
          <p:cNvPr id="13" name="Grafik 12" descr="Marke 4 mit einfarbiger Füllung">
            <a:extLst>
              <a:ext uri="{FF2B5EF4-FFF2-40B4-BE49-F238E27FC236}">
                <a16:creationId xmlns:a16="http://schemas.microsoft.com/office/drawing/2014/main" id="{9600208C-D7DA-5E92-8115-503A4487BD0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3885" y="2977325"/>
            <a:ext cx="360000" cy="360000"/>
          </a:xfrm>
          <a:prstGeom prst="rect">
            <a:avLst/>
          </a:prstGeom>
        </p:spPr>
      </p:pic>
      <p:pic>
        <p:nvPicPr>
          <p:cNvPr id="18" name="Grafik 17" descr="Marke 5 mit einfarbiger Füllung">
            <a:extLst>
              <a:ext uri="{FF2B5EF4-FFF2-40B4-BE49-F238E27FC236}">
                <a16:creationId xmlns:a16="http://schemas.microsoft.com/office/drawing/2014/main" id="{3D5D8BAA-5D3A-B701-1354-50D0005E08F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97227" y="3450838"/>
            <a:ext cx="360000" cy="360000"/>
          </a:xfrm>
          <a:prstGeom prst="rect">
            <a:avLst/>
          </a:prstGeom>
        </p:spPr>
      </p:pic>
      <p:pic>
        <p:nvPicPr>
          <p:cNvPr id="20" name="Grafik 19" descr="Marke 6 mit einfarbiger Füllung">
            <a:extLst>
              <a:ext uri="{FF2B5EF4-FFF2-40B4-BE49-F238E27FC236}">
                <a16:creationId xmlns:a16="http://schemas.microsoft.com/office/drawing/2014/main" id="{025B2DEC-F50D-86E7-F7D1-CBC3AABC036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97227" y="3932183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803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04CBD7EC-1B3C-0947-4C96-B5EC8A297D4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rgbClr val="B4AFA8">
              <a:alpha val="2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728000"/>
            <a:ext cx="8569326" cy="2931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9ECA101F-6608-4B88-EFA0-E7E1927267F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9144000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07035696-D435-82A1-04B7-03558016AE56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94583314-25BA-ECD2-44ED-C21DB074D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60D1216E-81CE-9E0C-8E72-9E3110C90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596154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C00536A-C7F3-7C45-05FF-B0675E4E0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07105400-BAD2-9762-82ED-323FEABB76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889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78199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over 1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C993823-27DB-BF3F-B737-F906784C47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9385" b="19385"/>
          <a:stretch/>
        </p:blipFill>
        <p:spPr>
          <a:xfrm>
            <a:off x="3840611" y="4745009"/>
            <a:ext cx="1462777" cy="343085"/>
          </a:xfrm>
          <a:prstGeom prst="rect">
            <a:avLst/>
          </a:prstGeom>
        </p:spPr>
      </p:pic>
      <p:sp>
        <p:nvSpPr>
          <p:cNvPr id="3" name="Bildplatzhalter 3">
            <a:extLst>
              <a:ext uri="{FF2B5EF4-FFF2-40B4-BE49-F238E27FC236}">
                <a16:creationId xmlns:a16="http://schemas.microsoft.com/office/drawing/2014/main" id="{89EA6D5C-057F-039B-6AD0-EB2900018819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ltGray">
          <a:xfrm>
            <a:off x="0" y="1"/>
            <a:ext cx="9144000" cy="4659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/>
          <a:lstStyle>
            <a:lvl1pPr marL="0" indent="0"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D9857394-194E-838B-5C64-F5EB26A12A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-802986" y="3580824"/>
            <a:ext cx="1821876" cy="215899"/>
          </a:xfrm>
        </p:spPr>
        <p:txBody>
          <a:bodyPr wrap="none" lIns="72000" tIns="72000" rIns="72000" bIns="72000" anchor="ctr" anchorCtr="0">
            <a:noAutofit/>
          </a:bodyPr>
          <a:lstStyle>
            <a:lvl1pPr marL="0" indent="0">
              <a:buNone/>
              <a:defRPr lang="de-AT" sz="700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de-DE" noProof="0"/>
              <a:t>Mastertextformat bearbeit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841E538-6E38-9907-CC73-D65F069F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088" y="2479964"/>
            <a:ext cx="8029575" cy="505690"/>
          </a:xfrm>
          <a:prstGeom prst="rect">
            <a:avLst/>
          </a:prstGeom>
          <a:effectLst>
            <a:outerShdw blurRad="63500" algn="ctr" rotWithShape="0">
              <a:prstClr val="black">
                <a:alpha val="60000"/>
              </a:prstClr>
            </a:outerShdw>
          </a:effectLst>
        </p:spPr>
        <p:txBody>
          <a:bodyPr wrap="square" bIns="0" anchor="b" anchorCtr="0">
            <a:noAutofit/>
          </a:bodyPr>
          <a:lstStyle>
            <a:lvl1pPr algn="l">
              <a:lnSpc>
                <a:spcPts val="3400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ED7AAFA-D6DD-8BA2-1645-094CCBB653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086" y="3071350"/>
            <a:ext cx="8316913" cy="193643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ts val="164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59285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F17889D-0D2F-553F-4245-B1BECE8C757B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C2B2797E-EC7F-2373-FC1C-54053639F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5421AC16-C00D-F0D0-70FB-48D1881F5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9826562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4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6E84F34D-7729-8749-BAB7-3E3902464D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CD7442F5-9C17-EFEC-65FD-A6E46A23694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2102599"/>
            <a:ext cx="5976936" cy="774000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Zapf Dingbats"/>
              <a:buChar char="❯"/>
              <a:defRPr sz="1100" b="0" i="0" cap="all" baseline="0">
                <a:solidFill>
                  <a:schemeClr val="tx1"/>
                </a:solidFill>
              </a:defRPr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3485C58B-D4B5-D243-F977-3395B75946E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0" y="2993236"/>
            <a:ext cx="5976936" cy="774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b="0" i="0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30482870-8CEE-F28B-8DDA-986884BFFE6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3885313"/>
            <a:ext cx="5976936" cy="774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b="0" i="0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29EFE4A-B926-6832-54C2-7E612BAAF2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1210522"/>
            <a:ext cx="5976936" cy="774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FE86604F-582A-9C8C-433B-66D29828A2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C51DD61-C125-DB2B-4C7A-59AD12717D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921AF19-9A16-61BC-9825-23D24871F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252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5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3332227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4047313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  <a:endParaRPr lang="en-US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912959"/>
            <a:ext cx="5976936" cy="612000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622593"/>
            <a:ext cx="5976936" cy="612000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3325"/>
            <a:ext cx="5976936" cy="612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181E53F-A8E7-895A-ACC8-82133EDBD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211D1F3-7E16-5F35-ACE8-0269F18D7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205F1C-FC2D-7D1F-2414-02CCF24382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8473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6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2977692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569147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94782"/>
            <a:ext cx="5976936" cy="498712"/>
          </a:xfrm>
          <a:solidFill>
            <a:srgbClr val="B4AFA8">
              <a:alpha val="24706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386237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1"/>
            <a:ext cx="5976936" cy="498712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4160602"/>
            <a:ext cx="5976936" cy="498712"/>
          </a:xfrm>
          <a:solidFill>
            <a:srgbClr val="B4AFA8">
              <a:alpha val="24706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6544AB88-A208-B4DC-0E46-610257586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54422BF1-25FB-3AE6-175B-00D0E60D13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D0B0A0-98EB-D6F1-C0A1-EFC57355F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295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7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" y="2723979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228693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09471"/>
            <a:ext cx="5976936" cy="421003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214185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2"/>
            <a:ext cx="5976936" cy="421003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3733863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9CE0CECC-2789-E58E-8376-A9EBF4318CA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0" y="4238310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A508857-E39D-66C1-DB06-27CA55707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39CBA3FC-0304-81BF-5EA7-C99BDA4C22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2B43992-4EE4-867D-CED5-79117320E4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0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7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" y="2723979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228693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09471"/>
            <a:ext cx="5976936" cy="421003"/>
          </a:xfrm>
          <a:solidFill>
            <a:srgbClr val="B4AFA8">
              <a:alpha val="25098"/>
            </a:srgb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214185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2"/>
            <a:ext cx="5976936" cy="421003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3733863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9CE0CECC-2789-E58E-8376-A9EBF4318CA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0" y="4238310"/>
            <a:ext cx="5976936" cy="421003"/>
          </a:xfrm>
          <a:solidFill>
            <a:srgbClr val="B4AFA8">
              <a:alpha val="25098"/>
            </a:srgbClr>
          </a:solidFill>
        </p:spPr>
        <p:txBody>
          <a:bodyPr vert="horz" lIns="288000" tIns="0" rIns="0" bIns="0" rtlCol="0" anchor="ctr" anchorCtr="0">
            <a:noAutofit/>
          </a:bodyPr>
          <a:lstStyle>
            <a:lvl1pPr>
              <a:defRPr lang="en-US" cap="all" noProof="0" dirty="0"/>
            </a:lvl1pPr>
          </a:lstStyle>
          <a:p>
            <a:pPr marR="0" lvl="0" fontAlgn="auto">
              <a:spcBef>
                <a:spcPts val="0"/>
              </a:spcBef>
            </a:pPr>
            <a:r>
              <a:rPr lang="en-US" noProof="0"/>
              <a:t>Edit master title format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A508857-E39D-66C1-DB06-27CA55707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39CBA3FC-0304-81BF-5EA7-C99BDA4C22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A45E34A-8A8F-1033-980D-CD48954E382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4351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1D460C0-C975-A145-A9C6-FF847652D0D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1203325"/>
            <a:ext cx="9144000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D5C8D6-71AD-F000-FC8C-C8C26817E1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0758D9C-26C9-E447-6A61-1C6842BEE7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4B293A91-CFC9-B11F-2108-6F0EBDD8AFCA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5C34B7D9-8A65-F678-E8FD-FEB07B434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C1E3F5B-EFF3-DEB6-3EB5-24050ACF1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C75201C-25D1-1922-15F4-73C16967D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6733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2/3 –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25965CC-882B-EB99-3171-41D5A44C2BA3}"/>
              </a:ext>
            </a:extLst>
          </p:cNvPr>
          <p:cNvSpPr/>
          <p:nvPr userDrawn="1"/>
        </p:nvSpPr>
        <p:spPr>
          <a:xfrm>
            <a:off x="0" y="1203325"/>
            <a:ext cx="5986464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5403778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BA33B33-6B72-36A6-029F-B3FCA821209A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2"/>
            </p:custDataLst>
          </p:nvPr>
        </p:nvSpPr>
        <p:spPr>
          <a:xfrm>
            <a:off x="6084888" y="1198800"/>
            <a:ext cx="3059112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18F65BD-5605-D006-B048-4870850D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849D8C4-7DBF-1CD7-B03A-F8FBEB81BD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1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B5757EE-2B4B-0175-DDD7-81FFA03F4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6809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4F2F50-267D-D6B0-A36B-5B926331541C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B2A2EA7-8A21-FEF5-BE1F-502CD5ECC03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4824000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16D7A1E-3DB6-CDA6-0656-626639E2C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74B0D8D6-E23B-362B-2020-80961514D4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B1ACA62-243F-33F4-A40E-320B1B8286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0760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9DAF00E2-0A08-0468-E8D9-329DE338928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59769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6EDE792-4C72-7128-9CB7-DA362888161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0DD76DF-4E63-9FDA-9984-5DF6A638C8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67063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9326AC2C-D546-207E-8A3C-02AA4D28311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84888" y="1203325"/>
            <a:ext cx="3059111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4F26EE33-67D1-41F9-04DE-7F39C518DDB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0F13EC77-E58A-2F6C-4815-96313769D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C825930-E0D5-7659-CC40-5987CC75BA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734990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14A161FA-C0CC-36DD-81E9-237C50139B3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8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357020A-6ADE-EDD5-A2BD-BCB05491F08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173836" y="1439999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50A01E53-801E-EF14-647E-E2841859A9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203325"/>
            <a:ext cx="3059625" cy="3455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E5A2AC2A-51E2-D9FB-74BB-EF96EC42D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0DB6649-3347-1CFB-31AB-59CB15CE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448793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491326"/>
            <a:ext cx="4516435" cy="3167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51395DB5-2776-D915-7549-A4A635A7CC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45393C60-64BF-06A4-86C7-DFAC00C665D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396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107AF019-5CDE-057A-1E50-27159C4F61A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7561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5CFC7D2-B51F-1B3A-330A-B1B62E6F9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38B3443-260B-64EC-C359-2B66E2AD70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6446334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203326"/>
            <a:ext cx="4516435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94CE464-2B6F-FD13-B5EE-89F6DE454CB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6" y="1439999"/>
            <a:ext cx="396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51ED8B3-3EC0-25D8-AD0D-33E394C9D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6A26CA00-2F59-088E-5E41-A4939D5601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861208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0BB035E-0205-A942-17F1-29FA181F254B}"/>
              </a:ext>
            </a:extLst>
          </p:cNvPr>
          <p:cNvSpPr/>
          <p:nvPr userDrawn="1"/>
        </p:nvSpPr>
        <p:spPr>
          <a:xfrm>
            <a:off x="4625975" y="1203325"/>
            <a:ext cx="4518025" cy="3455988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7CC1FF0B-EDF0-BED2-885C-FCB51D162FB0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B65D3D-EE6D-F0E1-5E6C-0BE73FC9B3E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04B3DB-5EE0-1C1D-226C-B7068A377FC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CF056C32-7A84-A9D4-89D0-BC849FAA2EA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5975" y="1203325"/>
            <a:ext cx="4518024" cy="288000"/>
          </a:xfrm>
          <a:solidFill>
            <a:schemeClr val="tx2"/>
          </a:solidFill>
        </p:spPr>
        <p:txBody>
          <a:bodyPr lIns="180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92A49B6E-A094-406B-8A7B-439ACD71C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AB3A3B4-3B47-F649-7989-9CCBB1B9B6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269780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6547B6F-45E7-79CD-FBC5-7EA75A4E490F}"/>
              </a:ext>
            </a:extLst>
          </p:cNvPr>
          <p:cNvSpPr/>
          <p:nvPr userDrawn="1"/>
        </p:nvSpPr>
        <p:spPr>
          <a:xfrm>
            <a:off x="4625975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AA45BB9-F719-DFDD-01BB-00DF14D1B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8D95371-113D-EB43-7492-63DC29D2F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713804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bg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21C91AF-2BD0-3B42-9216-CE44E7AB59B9}"/>
              </a:ext>
            </a:extLst>
          </p:cNvPr>
          <p:cNvSpPr/>
          <p:nvPr userDrawn="1"/>
        </p:nvSpPr>
        <p:spPr>
          <a:xfrm>
            <a:off x="4627564" y="1203325"/>
            <a:ext cx="4516436" cy="3455988"/>
          </a:xfrm>
          <a:prstGeom prst="rect">
            <a:avLst/>
          </a:prstGeom>
          <a:solidFill>
            <a:srgbClr val="B4AFA8">
              <a:alpha val="2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6662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7D9EEDDF-BB63-7D24-1F54-6998B1BC1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855A2854-594B-B528-077E-6A0ABB91F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798405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1D460C0-C975-A145-A9C6-FF847652D0D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1203325"/>
            <a:ext cx="9144000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D5C8D6-71AD-F000-FC8C-C8C26817E1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0758D9C-26C9-E447-6A61-1C6842BEE7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4B293A91-CFC9-B11F-2108-6F0EBDD8AFCA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5C34B7D9-8A65-F678-E8FD-FEB07B434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C1E3F5B-EFF3-DEB6-3EB5-24050ACF1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9024B1A-D3D6-5DA6-7584-23DCCD705F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650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491325"/>
            <a:ext cx="5976937" cy="31679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36DE5539-0B1F-7BF5-E600-B32BA4EBC09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F01C9181-1360-20B5-E376-F4097B2747D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807DF96-15FB-F09E-A5EC-A502E4CFF5C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7BC3BDB0-ED17-E746-1677-A3D429A3A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0E208B4-317D-6D8A-675F-4469F4ECF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5132522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199033"/>
            <a:ext cx="5976937" cy="34602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2300D589-CD16-7D76-014B-E73850E6B85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915F0A6-2899-B4AB-B641-9AF12FBA3A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1D01E259-B896-7959-2206-7B7483D9A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2072453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491325"/>
            <a:ext cx="2810388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1BCCB72F-C1BB-78C9-9107-B24476CB54C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5F36F81B-9624-E545-4C8A-E8F2A24623A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3B301552-A78C-E04E-A9CF-2E25A9EED99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C5679021-E1C2-1CA6-1079-D757B26786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080CBCAF-A3FD-C191-4B12-3B1B9C418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13151993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198800"/>
            <a:ext cx="3059625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198800"/>
            <a:ext cx="2810388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7F007ED-22AE-DB83-FB66-E9D072380C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201D443F-4B3C-8FF1-2501-A7DCD67225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3EDEC709-0F04-20E2-B774-4B068482E9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998815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6FE8E4C6-30D3-9646-88A2-8232F05F0886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5974" y="1491324"/>
            <a:ext cx="4230689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59AFFF7D-D03E-AF47-8F9B-41301CC034D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87336" y="1491325"/>
            <a:ext cx="4229102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3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B0F3D51-540D-3BB7-1027-BDEBCA9DC61A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42291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54FA7A8-CC6B-E7F0-1157-F3C7CE049BEE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4624383" y="1203325"/>
            <a:ext cx="4232279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A3F5C60D-24B1-662F-46A1-E572A3C84759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6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DBA7810-AC23-302B-9C4A-2309391F35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DA797397-67F3-D7B2-7EE8-CC7C3AE7FF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9087435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" name="Inhaltsplatzhalter 14">
            <a:extLst>
              <a:ext uri="{FF2B5EF4-FFF2-40B4-BE49-F238E27FC236}">
                <a16:creationId xmlns:a16="http://schemas.microsoft.com/office/drawing/2014/main" id="{FC117AC4-6744-13D5-D2B3-0ACD0E8CCD7B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4229099" cy="1692275"/>
          </a:xfrm>
        </p:spPr>
        <p:txBody>
          <a:bodyPr/>
          <a:lstStyle/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38AC2159-FD23-2C28-1EAD-8141743E5997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4644250" y="1203324"/>
            <a:ext cx="4229099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CF46C5-CF13-716D-4F16-2F29A874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32A7349-1C13-EFAE-52CB-2232422D2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6823791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8E135B50-9447-556F-5532-CB29D5AF03DE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96090" y="1491325"/>
            <a:ext cx="2761200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93890B78-D2BB-86BD-30B2-BFC302881B59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490400"/>
            <a:ext cx="2760662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A09F85D8-009E-87F6-892B-3C6E580008C6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93FF3B0-66CE-DD37-EC65-65105F1CBBF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A496DDE3-D30A-8219-5633-79290B07CCD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D59928A0-E88E-668B-4A8D-FDF3435F9515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itel 11">
            <a:extLst>
              <a:ext uri="{FF2B5EF4-FFF2-40B4-BE49-F238E27FC236}">
                <a16:creationId xmlns:a16="http://schemas.microsoft.com/office/drawing/2014/main" id="{4025921E-D896-36DB-1869-83D2051E7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9B41C72B-E9BE-1D5F-DD76-1E1D74093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2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660982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CD9D71E-57C6-BC0F-7B1A-6C2BDD01E9F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7E981E7A-3085-4CE9-F518-86C6BDB59BB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F56BE2D-C830-6D63-44DB-3855F570B2C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Inhaltsplatzhalter 14">
            <a:extLst>
              <a:ext uri="{FF2B5EF4-FFF2-40B4-BE49-F238E27FC236}">
                <a16:creationId xmlns:a16="http://schemas.microsoft.com/office/drawing/2014/main" id="{F3E7C646-723E-83D0-1F6E-83B40E5E3E4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  <a:p>
            <a:pPr lvl="0"/>
            <a:endParaRPr lang="en-US" noProof="0"/>
          </a:p>
        </p:txBody>
      </p:sp>
      <p:sp>
        <p:nvSpPr>
          <p:cNvPr id="18" name="Inhaltsplatzhalter 14">
            <a:extLst>
              <a:ext uri="{FF2B5EF4-FFF2-40B4-BE49-F238E27FC236}">
                <a16:creationId xmlns:a16="http://schemas.microsoft.com/office/drawing/2014/main" id="{3B793DEB-BF73-13C0-F2D6-35B644125E5B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319166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19" name="Inhaltsplatzhalter 14">
            <a:extLst>
              <a:ext uri="{FF2B5EF4-FFF2-40B4-BE49-F238E27FC236}">
                <a16:creationId xmlns:a16="http://schemas.microsoft.com/office/drawing/2014/main" id="{584A44A6-0EFF-7A22-3E12-E5A798C4E8EC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6115050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11CCF8-F308-9891-65E5-D55077A01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77BE5D4-2CED-45FF-7AFC-89568CBF8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7982401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ED689C87-1C8F-DDC0-67E7-FB31266990A8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4" name="Bildplatzhalter 14">
            <a:extLst>
              <a:ext uri="{FF2B5EF4-FFF2-40B4-BE49-F238E27FC236}">
                <a16:creationId xmlns:a16="http://schemas.microsoft.com/office/drawing/2014/main" id="{28B3771B-BD48-D14A-B01E-6FC435377A71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287338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7" name="Bildplatzhalter 14">
            <a:extLst>
              <a:ext uri="{FF2B5EF4-FFF2-40B4-BE49-F238E27FC236}">
                <a16:creationId xmlns:a16="http://schemas.microsoft.com/office/drawing/2014/main" id="{13E9E11A-3FE5-403D-B470-815EF3F5302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1" name="Bildplatzhalter 14">
            <a:extLst>
              <a:ext uri="{FF2B5EF4-FFF2-40B4-BE49-F238E27FC236}">
                <a16:creationId xmlns:a16="http://schemas.microsoft.com/office/drawing/2014/main" id="{501B6E30-B68F-4283-9E2A-A820A346785E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5" name="Bildplatzhalter 14">
            <a:extLst>
              <a:ext uri="{FF2B5EF4-FFF2-40B4-BE49-F238E27FC236}">
                <a16:creationId xmlns:a16="http://schemas.microsoft.com/office/drawing/2014/main" id="{25358A25-F640-4F2E-8AF9-4EF756A2EB58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9ECA20-05D0-B26E-A1C4-7B6F91F47A7A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C2847E2-7DB5-5A97-C8AB-9FF59D0858DA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462863-118D-05ED-F263-B97F525AB968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AC80185-3BEA-2638-48E7-FFE2594AD256}"/>
              </a:ext>
            </a:extLst>
          </p:cNvPr>
          <p:cNvSpPr>
            <a:spLocks noGrp="1"/>
          </p:cNvSpPr>
          <p:nvPr>
            <p:ph type="body" sz="quarter" idx="61" hasCustomPrompt="1"/>
            <p:custDataLst>
              <p:tags r:id="rId5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B3CDFF2-B488-0B9C-2C69-725CB4F765A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C9F4D035-FA9F-D4B7-2DB3-603973288C3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CD711393-56C5-1553-D9FA-54C651AAFF4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63748E3-13E6-B4C4-F169-E9F6E746F8C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0D053AA0-E78E-D408-88DE-178DEF7767D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F80B05FF-8144-6D2E-A064-1A2E9C1E92A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24701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72CBF6C3-BF10-C623-B0BF-11B410A9033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464876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9C1C6E2D-B422-AA6D-2CB6-461CA2B8A6A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82579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6F0F6040-5672-3809-9559-7DA525B8A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342FA58-EF9F-60A1-9DD8-AA7DAAA1DC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2794984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BE675753-1D70-B680-B017-6BB666ED354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0CCB1081-E697-134A-13B4-B700F91ACE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D1EC8A51-B17D-665D-507E-60654AD797C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1F7CB1AD-41BC-153F-E2F0-9A462C77E41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6" name="Inhaltsplatzhalter 14">
            <a:extLst>
              <a:ext uri="{FF2B5EF4-FFF2-40B4-BE49-F238E27FC236}">
                <a16:creationId xmlns:a16="http://schemas.microsoft.com/office/drawing/2014/main" id="{2126A575-37FA-6F27-285D-19511896AC2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7" name="Inhaltsplatzhalter 14">
            <a:extLst>
              <a:ext uri="{FF2B5EF4-FFF2-40B4-BE49-F238E27FC236}">
                <a16:creationId xmlns:a16="http://schemas.microsoft.com/office/drawing/2014/main" id="{DDF43996-9B15-4FFD-B5E4-E8943447D2B9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2462892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8" name="Inhaltsplatzhalter 14">
            <a:extLst>
              <a:ext uri="{FF2B5EF4-FFF2-40B4-BE49-F238E27FC236}">
                <a16:creationId xmlns:a16="http://schemas.microsoft.com/office/drawing/2014/main" id="{23C41FF9-BF40-EA56-28BD-8FC1A24195BE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4638446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076BD9F5-A23A-118F-90F4-EFAFF22A608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681846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352FED-61A5-F451-DAE7-D4EBD1A56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1983DB6-78CE-0020-9A2F-0FC4674303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85776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2/3 –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25965CC-882B-EB99-3171-41D5A44C2BA3}"/>
              </a:ext>
            </a:extLst>
          </p:cNvPr>
          <p:cNvSpPr/>
          <p:nvPr userDrawn="1"/>
        </p:nvSpPr>
        <p:spPr>
          <a:xfrm>
            <a:off x="0" y="1203325"/>
            <a:ext cx="5986464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5403778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BA33B33-6B72-36A6-029F-B3FCA821209A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2"/>
            </p:custDataLst>
          </p:nvPr>
        </p:nvSpPr>
        <p:spPr>
          <a:xfrm>
            <a:off x="6084888" y="1198800"/>
            <a:ext cx="3059112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18F65BD-5605-D006-B048-4870850D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001921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849D8C4-7DBF-1CD7-B03A-F8FBEB81BD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001921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CEA90FC-C6E8-48D5-D68C-D1FBE12E24E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678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72E215C-9B90-8325-FF4D-F8533522A452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C96D884F-FB18-473F-9F99-95F0C6DE5715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CEB8FC9-903B-ACA5-B82D-63BD92856A6F}"/>
              </a:ext>
            </a:extLst>
          </p:cNvPr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E83D1F2-6EBE-AEFE-83AA-AFE4E9BC0873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4C82858-A851-F2EB-D4C8-DBF4E27DD584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E63B4035-F356-E34C-81D7-7E9EA696CA5C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2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56FD5569-E27B-D2C4-EF4D-2BA554E2BA26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3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A99CEFC4-01DE-F81A-AB88-C2C27AA58742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4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1E9E0E3C-8007-9F8B-EDC9-D79649A90C23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5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449B5AE2-AF90-0806-1EB4-EF5F94A627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EDFAA52-2E77-5CB7-E489-A7B83BFB219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A72C7519-7B30-10B1-B3D8-3B3278B8E7C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7628DED-6862-89C1-F5A6-72EE674BC97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3BA4C36A-C85F-6AE7-DB5E-433BFA37DF65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6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F2D317A-D881-FE52-68F5-C1CCE2C2C60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8E49E85A-8506-47E7-C891-51E570BB5146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AABA3176-9D38-6D8D-B32F-84B8B4A132B1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2F30F3B-C0B4-F8B9-5948-321CA405D4D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8C3C8EFC-9980-E696-0FC2-53C28AFB59FB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2F2A03D5-9BF6-6A78-883C-5B4F18D6203D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55061F5B-173D-B039-3723-3C6CF30C8C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3673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EB2DC61-02E2-C6C7-ECC3-754A449CFE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3674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6540622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-17145" y="1203325"/>
            <a:ext cx="9144000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026578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376917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5511773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4F38A308-67CD-59C3-0DAC-6DEB51D7215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34739CE4-470E-414C-F24C-6BA7C2CF8E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2E4894B-99FD-C146-3E75-2A16F0F487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44932246-ABA9-D5C1-6D02-BE9CADC6826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E6B9774-D3D8-AFF8-B534-7533198E27E9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5"/>
            </p:custDataLst>
          </p:nvPr>
        </p:nvSpPr>
        <p:spPr>
          <a:xfrm>
            <a:off x="7254369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7CB74EB-8F38-E27A-EC09-819707173B2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B3A6A403-576C-64FE-53A2-A63D85853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3673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467A9FA3-3A43-662E-8CE7-AF54317142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3674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5621280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8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rgbClr val="B4AFA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591303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4895370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71994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F292A2A-4701-E140-AC7B-6015C856A765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2591369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F68539C-C1A9-AE4D-96E1-F1E00CD9D2E6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4895402" y="2564053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6C45458-61B5-8040-805A-45517977084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7"/>
            </p:custDataLst>
          </p:nvPr>
        </p:nvSpPr>
        <p:spPr>
          <a:xfrm>
            <a:off x="71994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E6A6EDA6-9B8C-834B-8B93-CFF5CC06E7E6}"/>
              </a:ext>
            </a:extLst>
          </p:cNvPr>
          <p:cNvSpPr>
            <a:spLocks noGrp="1"/>
          </p:cNvSpPr>
          <p:nvPr>
            <p:ph type="pic" sz="quarter" idx="26" hasCustomPrompt="1"/>
            <p:custDataLst>
              <p:tags r:id="rId8"/>
            </p:custDataLst>
          </p:nvPr>
        </p:nvSpPr>
        <p:spPr>
          <a:xfrm>
            <a:off x="2872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8A3DCAA-FE44-9841-BFF2-A40F00653831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2873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C192229C-AEF2-E74F-9E80-9CD67FED354E}"/>
              </a:ext>
            </a:extLst>
          </p:cNvPr>
          <p:cNvSpPr>
            <a:spLocks noGrp="1"/>
          </p:cNvSpPr>
          <p:nvPr>
            <p:ph type="pic" sz="quarter" idx="28" hasCustomPrompt="1"/>
            <p:custDataLst>
              <p:tags r:id="rId10"/>
            </p:custDataLst>
          </p:nvPr>
        </p:nvSpPr>
        <p:spPr>
          <a:xfrm>
            <a:off x="2591303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D25526F9-1F13-914D-86FC-279DFD7BB05A}"/>
              </a:ext>
            </a:extLst>
          </p:cNvPr>
          <p:cNvSpPr>
            <a:spLocks noGrp="1"/>
          </p:cNvSpPr>
          <p:nvPr>
            <p:ph type="pic" sz="quarter" idx="29" hasCustomPrompt="1"/>
            <p:custDataLst>
              <p:tags r:id="rId11"/>
            </p:custDataLst>
          </p:nvPr>
        </p:nvSpPr>
        <p:spPr>
          <a:xfrm>
            <a:off x="4895370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43DA012-6A0A-F54B-8416-26E96F547CB3}"/>
              </a:ext>
            </a:extLst>
          </p:cNvPr>
          <p:cNvSpPr>
            <a:spLocks noGrp="1"/>
          </p:cNvSpPr>
          <p:nvPr>
            <p:ph type="pic" sz="quarter" idx="30" hasCustomPrompt="1"/>
            <p:custDataLst>
              <p:tags r:id="rId12"/>
            </p:custDataLst>
          </p:nvPr>
        </p:nvSpPr>
        <p:spPr>
          <a:xfrm>
            <a:off x="71994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2DD13F0-50DC-6944-A174-25848F2F14EB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13"/>
            </p:custDataLst>
          </p:nvPr>
        </p:nvSpPr>
        <p:spPr>
          <a:xfrm>
            <a:off x="2591369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endParaRPr lang="en-US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B3FB6B7-6360-E447-BEBA-770F0EDEC7AB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14"/>
            </p:custDataLst>
          </p:nvPr>
        </p:nvSpPr>
        <p:spPr>
          <a:xfrm>
            <a:off x="4895402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CE4EBBB-B9D5-6C4E-A9F5-6EEE14528FD3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15"/>
            </p:custDataLst>
          </p:nvPr>
        </p:nvSpPr>
        <p:spPr>
          <a:xfrm>
            <a:off x="71994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4D43EA28-050F-4DFC-6BAF-F52350EF7F58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6"/>
            </p:custDataLst>
          </p:nvPr>
        </p:nvSpPr>
        <p:spPr>
          <a:xfrm>
            <a:off x="2872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565755-8502-1B4E-1167-D7D9F1CCB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3F56A09-2DFC-6C41-1375-351AAD0AD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0868527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491325"/>
            <a:ext cx="2761200" cy="3167988"/>
          </a:xfrm>
          <a:solidFill>
            <a:schemeClr val="tx2">
              <a:alpha val="15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3698CB2-24AC-CA51-509B-79EC684F32F9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196800" y="1491325"/>
            <a:ext cx="2761200" cy="3167988"/>
          </a:xfrm>
          <a:solidFill>
            <a:schemeClr val="tx2">
              <a:alpha val="3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BF069785-703B-5AE9-B559-DAEEA8CDDF5E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6084000" y="1491325"/>
            <a:ext cx="2761200" cy="3167988"/>
          </a:xfrm>
          <a:solidFill>
            <a:schemeClr val="tx2">
              <a:alpha val="5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7B8EA88B-090D-ABD7-2282-5E5604216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774DF7B3-2BDA-FDA4-7533-98A35BABAA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169241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761200" cy="3455988"/>
          </a:xfrm>
          <a:solidFill>
            <a:schemeClr val="tx2">
              <a:alpha val="1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196800" y="1202400"/>
            <a:ext cx="2761200" cy="3455988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095463" y="1202400"/>
            <a:ext cx="2761200" cy="3455988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FDC17F11-711A-9D52-699C-6A30D1D36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53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D2EE9CE-4328-EDD5-FB8C-B6A80D0EAC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53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86FD155B-A4E6-FEBE-8D4E-D8771937A287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451935" y="1347325"/>
            <a:ext cx="432000" cy="43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4E91B156-263A-3DB3-48FF-2AF749C6F7F4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4365792" y="1347325"/>
            <a:ext cx="432000" cy="4320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" name="Onlinebild-Platzhalter 10">
            <a:extLst>
              <a:ext uri="{FF2B5EF4-FFF2-40B4-BE49-F238E27FC236}">
                <a16:creationId xmlns:a16="http://schemas.microsoft.com/office/drawing/2014/main" id="{FA2DE8D0-6CE3-376A-0BFB-11C125838A31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7240488" y="1347325"/>
            <a:ext cx="432000" cy="4320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46909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C1CBEC77-D501-1CF3-0791-A9BE94B4298E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4" y="1487678"/>
            <a:ext cx="2027241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363A012-E2DD-F426-8016-AE1429876F60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469600" y="1487678"/>
            <a:ext cx="2027241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30BD902-AA13-400C-0657-4F628A59E1C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4647600" y="1487678"/>
            <a:ext cx="2027241" cy="3171635"/>
          </a:xfrm>
          <a:solidFill>
            <a:schemeClr val="tx2">
              <a:alpha val="35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8F01AEE-F98F-A0B1-54ED-0B2BD7F1836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6825600" y="1487678"/>
            <a:ext cx="2027241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E376CD2-1968-0C62-85D9-F4B807B1C84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8762C523-8648-ADD0-08CB-74A88171B84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EA3269-B6DF-A477-2857-509F43069D43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9705286-E45D-4F96-0C9C-F9612653788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CBCDA9-31E4-0841-7F1D-996C653C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C18D7F2-F2FC-B9F1-C422-CB53DFFD6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175112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8">
            <a:extLst>
              <a:ext uri="{FF2B5EF4-FFF2-40B4-BE49-F238E27FC236}">
                <a16:creationId xmlns:a16="http://schemas.microsoft.com/office/drawing/2014/main" id="{3C5A57B6-B614-662B-8176-1FA923B6ADD2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825600" y="1202400"/>
            <a:ext cx="2026800" cy="3456000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4647600" y="1202400"/>
            <a:ext cx="2026800" cy="3456000"/>
          </a:xfrm>
          <a:solidFill>
            <a:schemeClr val="tx2">
              <a:alpha val="3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469600" y="1202400"/>
            <a:ext cx="2026800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026800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1009D99C-C149-92FA-8A29-58475DA1A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0BECC9FE-6AB4-63DE-A30C-3DE09460BD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8711D9EC-DEA3-FCF8-4633-F54F39A711E6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084735" y="1347325"/>
            <a:ext cx="432000" cy="4320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F18FE376-1B1B-1E25-D3D0-E8B6101B1C16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3264867" y="1347325"/>
            <a:ext cx="432000" cy="4320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2" name="Onlinebild-Platzhalter 10">
            <a:extLst>
              <a:ext uri="{FF2B5EF4-FFF2-40B4-BE49-F238E27FC236}">
                <a16:creationId xmlns:a16="http://schemas.microsoft.com/office/drawing/2014/main" id="{05428F43-86DC-6AA6-F98D-B45E9BE8BA86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5445000" y="1347325"/>
            <a:ext cx="432000" cy="432000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7" name="Onlinebild-Platzhalter 10">
            <a:extLst>
              <a:ext uri="{FF2B5EF4-FFF2-40B4-BE49-F238E27FC236}">
                <a16:creationId xmlns:a16="http://schemas.microsoft.com/office/drawing/2014/main" id="{8BCB3422-765C-8842-D786-6C424AFA5FCA}"/>
              </a:ext>
            </a:extLst>
          </p:cNvPr>
          <p:cNvSpPr>
            <a:spLocks noGrp="1"/>
          </p:cNvSpPr>
          <p:nvPr>
            <p:ph type="clipArt" sz="quarter" idx="79" hasCustomPrompt="1"/>
            <p:custDataLst>
              <p:tags r:id="rId4"/>
            </p:custDataLst>
          </p:nvPr>
        </p:nvSpPr>
        <p:spPr>
          <a:xfrm>
            <a:off x="7623000" y="1347325"/>
            <a:ext cx="432000" cy="432000"/>
          </a:xfr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9209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8716EE9-0476-FCD4-A1F2-CE9F5F9724D1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49FF96AF-F0A4-0EF9-A20F-37E558380BB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5CACEEB-997D-EB30-AE3B-F92ECF2FD82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A1BF6B7-007B-9673-832D-81035ED3079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7500EB92-70BB-8ADD-782F-CF79BFA55953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8E9917FA-1000-8B45-6CBF-D200E5BDE738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87335" y="1487678"/>
            <a:ext cx="1602000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26F900F2-68A0-3747-EB88-5CA4EACD99A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2026680" y="1487678"/>
            <a:ext cx="1602000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8F151C0-593D-8DE6-2D56-ABF8395ADE6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771000" y="1487678"/>
            <a:ext cx="1602000" cy="3171635"/>
          </a:xfrm>
          <a:solidFill>
            <a:schemeClr val="tx2">
              <a:alpha val="3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69C58877-82C2-0E3F-5202-C22BCD52F92A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511824" y="1487678"/>
            <a:ext cx="1602000" cy="3171635"/>
          </a:xfrm>
          <a:solidFill>
            <a:schemeClr val="tx2">
              <a:alpha val="4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9A2357E3-72F5-4E2E-9575-64FC31ED168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7252648" y="1487678"/>
            <a:ext cx="1602000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A80DA96-C85A-4656-2A27-E19EAE8934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530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DAAABA8-28CE-27D5-CA4B-4845BA9825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1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4421348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9DA7C3AE-648A-B07C-1DE8-355083741B38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252647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7812B5F-105F-406D-C0BE-25DB7C074B26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5511570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8B9D7B1C-A2B4-DFF5-FC38-19DF8A876F00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3770493" y="1203325"/>
            <a:ext cx="1604017" cy="3456000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E2AA0046-4389-4380-1ECD-9EEBCE630E5B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2024663" y="1203325"/>
            <a:ext cx="1604017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A37EA99-5F1C-DE59-DB1D-3214C80E459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1604017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6ECCF-C624-5F9D-28FA-D9BBADF64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6965308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636A2B57-C69E-6B57-526E-EC21C565B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09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Onlinebild-Platzhalter 10">
            <a:extLst>
              <a:ext uri="{FF2B5EF4-FFF2-40B4-BE49-F238E27FC236}">
                <a16:creationId xmlns:a16="http://schemas.microsoft.com/office/drawing/2014/main" id="{EAB7ADAF-4825-3F32-B18D-5B0A60D73280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873343" y="1347326"/>
            <a:ext cx="432000" cy="4320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" name="Onlinebild-Platzhalter 10">
            <a:extLst>
              <a:ext uri="{FF2B5EF4-FFF2-40B4-BE49-F238E27FC236}">
                <a16:creationId xmlns:a16="http://schemas.microsoft.com/office/drawing/2014/main" id="{676C317E-300F-2E1D-0297-4C8C48AED32C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2610671" y="1347326"/>
            <a:ext cx="432000" cy="4320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Onlinebild-Platzhalter 10">
            <a:extLst>
              <a:ext uri="{FF2B5EF4-FFF2-40B4-BE49-F238E27FC236}">
                <a16:creationId xmlns:a16="http://schemas.microsoft.com/office/drawing/2014/main" id="{BFC6D321-0439-A308-B466-8DA8E12C40A0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4356000" y="1347326"/>
            <a:ext cx="432000" cy="432000"/>
          </a:xfr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" name="Onlinebild-Platzhalter 10">
            <a:extLst>
              <a:ext uri="{FF2B5EF4-FFF2-40B4-BE49-F238E27FC236}">
                <a16:creationId xmlns:a16="http://schemas.microsoft.com/office/drawing/2014/main" id="{39026ACF-E4E1-BE92-8DED-A5AFDC90F20F}"/>
              </a:ext>
            </a:extLst>
          </p:cNvPr>
          <p:cNvSpPr>
            <a:spLocks noGrp="1"/>
          </p:cNvSpPr>
          <p:nvPr>
            <p:ph type="clipArt" sz="quarter" idx="83" hasCustomPrompt="1"/>
            <p:custDataLst>
              <p:tags r:id="rId4"/>
            </p:custDataLst>
          </p:nvPr>
        </p:nvSpPr>
        <p:spPr>
          <a:xfrm>
            <a:off x="6097578" y="1347326"/>
            <a:ext cx="432000" cy="432000"/>
          </a:xfr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83CAC606-396E-9180-E893-E73F279D678D}"/>
              </a:ext>
            </a:extLst>
          </p:cNvPr>
          <p:cNvSpPr>
            <a:spLocks noGrp="1"/>
          </p:cNvSpPr>
          <p:nvPr>
            <p:ph type="clipArt" sz="quarter" idx="88" hasCustomPrompt="1"/>
            <p:custDataLst>
              <p:tags r:id="rId5"/>
            </p:custDataLst>
          </p:nvPr>
        </p:nvSpPr>
        <p:spPr>
          <a:xfrm>
            <a:off x="7838655" y="1347326"/>
            <a:ext cx="432000" cy="432000"/>
          </a:xfr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6161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D754083C-E015-F4C8-8027-C1E90E14D57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F37D654-47AA-2D93-E21C-4EA291A7A957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510F739E-6D43-C9BF-353A-E5C878E4D544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C965916-D702-E5D2-898E-FD989A2B2B1A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3245080-9CAB-277E-EDFE-5B634A35D70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682EAC47-4099-9FCF-7F08-5428DC91119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15F09679-97CB-46FB-DC96-CE57E162C79A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8879681D-D55B-3026-1EB5-F2574B8872B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4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91B1A31A-EFBC-2A2C-E9C5-64F610FE84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67058" y="1491325"/>
            <a:ext cx="2809874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EF3354DA-E26A-37E0-EB81-9EBC9723358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5A26D930-E019-F8B5-259E-CD62D44A64A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E4030DFD-EC80-3D25-4928-A12DE2CD9FF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CB9C88D-3C5F-3D1C-855B-03897AE1F1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D1E4D73-0064-150F-2E3B-C276E85E7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DD52539-0245-90D9-B222-01CB8285AA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685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4F2F50-267D-D6B0-A36B-5B926331541C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B2A2EA7-8A21-FEF5-BE1F-502CD5ECC03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4824000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16D7A1E-3DB6-CDA6-0656-626639E2C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74B0D8D6-E23B-362B-2020-80961514D4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EBCF482-6D89-05CD-9F53-8708A23C1D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14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0E2F52A-6CFC-1949-B2C0-9743CFBA920F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BDB0E054-BD24-A34B-9B3D-6D5B54882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8EFE3EB5-19EC-6A4C-8583-81E27ED57EAF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67062" y="1491324"/>
            <a:ext cx="2809876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2E6944D-BDB1-7243-9A79-FB8ABCD00D47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527324"/>
            <a:ext cx="2760662" cy="13652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8C8F5B71-A61B-422C-B970-E2734375960F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7D2DB278-C200-6068-B3AB-4EB9D2522A7B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0744E7-A101-3844-3C3E-A961B0D0BCCE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4AF206A4-FEDF-F598-F53C-5F01FE10F68F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6A727C03-1D2F-C773-8BAA-A31573F3D57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5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A4D66FB-851A-8EF7-42C2-02278A9B550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2D6A39DC-3D7B-DD2B-EA33-0A39310C71C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869505B4-AD49-DEE7-FAB9-34E8CD917E8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8AEBC1B-CD1B-72A3-8A33-EBDEA5E2E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148FC1A-BC1D-B42A-C5B6-E3AF299D2E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6431DF0-4BF4-E6A8-E320-FE66873747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3059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A16F8E9-0770-1C6E-6717-F2DB93CCB58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334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EEAEF662-3337-B1A6-F65A-A89B9F1D404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469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ECF7EF7B-90B9-F4C4-AC15-59C8909810D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647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A343C70E-0DAB-041F-057B-94769620D62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825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FB2FCE36-57B3-36EB-3DAF-8D9A540C5FDB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9" name="Textplatzhalter 13">
            <a:extLst>
              <a:ext uri="{FF2B5EF4-FFF2-40B4-BE49-F238E27FC236}">
                <a16:creationId xmlns:a16="http://schemas.microsoft.com/office/drawing/2014/main" id="{412F84D3-1FC1-A5E6-0FEA-C0D2B9C3FC1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0" name="Textplatzhalter 13">
            <a:extLst>
              <a:ext uri="{FF2B5EF4-FFF2-40B4-BE49-F238E27FC236}">
                <a16:creationId xmlns:a16="http://schemas.microsoft.com/office/drawing/2014/main" id="{D9C3A974-C9C0-06C3-561E-8BCDB52B10EE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1" name="Textplatzhalter 13">
            <a:extLst>
              <a:ext uri="{FF2B5EF4-FFF2-40B4-BE49-F238E27FC236}">
                <a16:creationId xmlns:a16="http://schemas.microsoft.com/office/drawing/2014/main" id="{D61CC285-1E27-F5BA-06A8-99356A0683E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B013969B-56C9-9D9E-65F9-DC70D109115C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F62F4DD2-42C1-E530-34A0-F963C86268FB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935F52D-0060-0E29-EE13-651694724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0F028DE7-CEEF-A00D-EDA1-34985F3331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636371A-A33D-4A99-F4EB-023CB3CAA5A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752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FF4417A-17F4-11EF-F121-46850D5C2ABE}"/>
              </a:ext>
            </a:extLst>
          </p:cNvPr>
          <p:cNvSpPr>
            <a:spLocks noGrp="1"/>
          </p:cNvSpPr>
          <p:nvPr>
            <p:ph type="pic" sz="quarter" idx="72" hasCustomPrompt="1"/>
            <p:custDataLst>
              <p:tags r:id="rId1"/>
            </p:custDataLst>
          </p:nvPr>
        </p:nvSpPr>
        <p:spPr>
          <a:xfrm>
            <a:off x="287338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C4EEA937-61B7-FFE9-4DE0-397C64D17A0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58B3653-ACDD-F612-B347-38D5093B6ED4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14">
            <a:extLst>
              <a:ext uri="{FF2B5EF4-FFF2-40B4-BE49-F238E27FC236}">
                <a16:creationId xmlns:a16="http://schemas.microsoft.com/office/drawing/2014/main" id="{9909A5AC-617C-881F-6A68-76A87B36D970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6AB41A3C-239F-1A41-560A-BEB5D1724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1EE73F05-43C5-41BC-5FAE-1C6184C5EDC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6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5199540-D6E6-7925-CC4E-D448E1364FC9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E7D664E0-8173-5108-3200-1C27340D9B4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4F7CCADB-A9C7-9BCD-D8F3-3C807D681EB6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E4A4647-4B2C-F467-CDE3-48F1AD1104FC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itel 11">
            <a:extLst>
              <a:ext uri="{FF2B5EF4-FFF2-40B4-BE49-F238E27FC236}">
                <a16:creationId xmlns:a16="http://schemas.microsoft.com/office/drawing/2014/main" id="{87ED38F3-99CC-D564-9E8B-7A1B4BC1C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FF4570F9-D6A4-BC6E-D1C7-EB1426EFD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5336D8B-3E64-6646-B7F8-BD547727CDF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0179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43A27DA-9C4A-2E92-F425-AE93E8354BC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287335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4329F516-9BE0-C095-E168-0D4D34DAB55E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02668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B16DA48A-3F0E-6A75-8F08-C977BDC52C7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7100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2B6AEC3-AAE6-A98B-050B-2E22B37EB34F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11824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8EFDD83A-C9F2-C566-6B79-A55D26A1501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52648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8BDC80-3E28-4230-5FE1-E28F1B75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6530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151CD0C-B238-4665-F793-1EAEBDAD4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531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F06A0F-75A4-35C5-5598-C9242D09ED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9055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193EF5D3-A5F5-8BA3-42C1-D27439B73AF5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3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B3B673A0-32AD-9303-9E86-AB3451AA327C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4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FEF61830-8315-E529-F230-252C6979A7FB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5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2A8BF909-2A0F-3BF1-279E-C2EF0C162A9F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6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5108A8FE-7AC6-979A-0C7A-E1B628BA2BC2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7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29852D4-626E-04B7-6468-52FFC5C79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40" y="504000"/>
            <a:ext cx="6967030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8A4FD21-8135-60D6-C9A6-9FB886151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67031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D39E24B-FC65-3FA0-1A80-752379E8333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675390" y="3315171"/>
            <a:ext cx="5779509" cy="44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6976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1 row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780000" cy="2988508"/>
          </a:xfrm>
          <a:solidFill>
            <a:srgbClr val="B4AFA8">
              <a:alpha val="25098"/>
            </a:srgb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007AEDAC-BEEA-BE9E-DE24-5347D4A9B3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919C497-2478-91B4-982A-6F31575DEB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1DE20CF-0C2D-B230-F27F-3D81967D0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185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2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988508"/>
            <a:ext cx="3780000" cy="1440000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0"/>
            <a:ext cx="3780000" cy="1440000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9BF13AAD-9EF5-3415-8248-50D8E48C6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8C9D67B-0EB0-9EC0-E9A8-F2D8350F8C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917D7A3-CE6F-243E-1DA1-298B49F1C7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0998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460588"/>
            <a:ext cx="3780000" cy="917999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1"/>
            <a:ext cx="3780000" cy="917999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C8AAE-967D-D672-51F2-9854644B420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3481175"/>
            <a:ext cx="3780000" cy="917999"/>
          </a:xfrm>
          <a:solidFill>
            <a:schemeClr val="tx2">
              <a:alpha val="4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el 11">
            <a:extLst>
              <a:ext uri="{FF2B5EF4-FFF2-40B4-BE49-F238E27FC236}">
                <a16:creationId xmlns:a16="http://schemas.microsoft.com/office/drawing/2014/main" id="{0F9526F5-C10B-8696-3781-DCB7C4709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752691F-9F5E-56BD-E8DB-32939F5A74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5762E57-A382-2367-3248-D73C393A26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3501577" y="2746258"/>
            <a:ext cx="2148114" cy="37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994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706564"/>
            <a:ext cx="277177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Bildplatzhalter 14">
            <a:extLst>
              <a:ext uri="{FF2B5EF4-FFF2-40B4-BE49-F238E27FC236}">
                <a16:creationId xmlns:a16="http://schemas.microsoft.com/office/drawing/2014/main" id="{7970463A-CC71-1947-9A58-220906ECFDCB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5"/>
            </p:custDataLst>
          </p:nvPr>
        </p:nvSpPr>
        <p:spPr>
          <a:xfrm>
            <a:off x="3167134" y="1706564"/>
            <a:ext cx="280980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76E17B-0EED-6B43-B7F1-A2DEC8B3FCD0}"/>
              </a:ext>
            </a:extLst>
          </p:cNvPr>
          <p:cNvSpPr>
            <a:spLocks noGrp="1"/>
          </p:cNvSpPr>
          <p:nvPr>
            <p:ph type="pic" sz="quarter" idx="27" hasCustomPrompt="1"/>
            <p:custDataLst>
              <p:tags r:id="rId6"/>
            </p:custDataLst>
          </p:nvPr>
        </p:nvSpPr>
        <p:spPr>
          <a:xfrm>
            <a:off x="6084855" y="1706564"/>
            <a:ext cx="2783421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C3AE632-C244-2EB9-7B86-A986E0CBC12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D68DB0A4-8EB4-B5C0-0B15-59C303E458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E164366C-411E-1F09-8058-DBDCE06CA59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4CDF72A-76DC-9457-3BBB-0B1A3CEE2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38ED0F7-E565-3ECE-26AE-523D55F402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105111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FCF92F0A-E389-14D9-7C13-94EBBD3F79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7F16E4-570C-82F5-7788-8DAA0E98AA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C46DAD6-97ED-4E65-3048-F45353BDA9F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1" name="Titel 11">
            <a:extLst>
              <a:ext uri="{FF2B5EF4-FFF2-40B4-BE49-F238E27FC236}">
                <a16:creationId xmlns:a16="http://schemas.microsoft.com/office/drawing/2014/main" id="{33780796-F8C3-5474-CB9B-9FC27D832E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6995435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7934439F-78B6-19E2-A2DC-F6D2ED57F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6995436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084625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50" Type="http://schemas.openxmlformats.org/officeDocument/2006/relationships/slideLayout" Target="../slideLayouts/slideLayout103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59" Type="http://schemas.openxmlformats.org/officeDocument/2006/relationships/image" Target="../media/image26.png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94.xml"/><Relationship Id="rId54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3" Type="http://schemas.openxmlformats.org/officeDocument/2006/relationships/slideLayout" Target="../slideLayouts/slideLayout106.xml"/><Relationship Id="rId58" Type="http://schemas.openxmlformats.org/officeDocument/2006/relationships/tags" Target="../tags/tag158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02.xml"/><Relationship Id="rId57" Type="http://schemas.openxmlformats.org/officeDocument/2006/relationships/tags" Target="../tags/tag157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52" Type="http://schemas.openxmlformats.org/officeDocument/2006/relationships/slideLayout" Target="../slideLayouts/slideLayout105.xml"/><Relationship Id="rId60" Type="http://schemas.openxmlformats.org/officeDocument/2006/relationships/image" Target="../media/image27.sv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56" Type="http://schemas.openxmlformats.org/officeDocument/2006/relationships/tags" Target="../tags/tag156.xml"/><Relationship Id="rId8" Type="http://schemas.openxmlformats.org/officeDocument/2006/relationships/slideLayout" Target="../slideLayouts/slideLayout61.xml"/><Relationship Id="rId51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55"/>
            </p:custDataLst>
          </p:nvPr>
        </p:nvSpPr>
        <p:spPr>
          <a:xfrm>
            <a:off x="287337" y="4911725"/>
            <a:ext cx="1290638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6"/>
            </p:custDataLst>
          </p:nvPr>
        </p:nvSpPr>
        <p:spPr>
          <a:xfrm>
            <a:off x="8351838" y="4911725"/>
            <a:ext cx="504825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E39B4BCD-51B9-4580-B1F3-0A98E9FEF5FD}"/>
              </a:ext>
            </a:extLst>
          </p:cNvPr>
          <p:cNvSpPr>
            <a:spLocks noGrp="1"/>
          </p:cNvSpPr>
          <p:nvPr>
            <p:ph type="body" idx="1"/>
            <p:custDataLst>
              <p:tags r:id="rId57"/>
            </p:custDataLst>
          </p:nvPr>
        </p:nvSpPr>
        <p:spPr>
          <a:xfrm>
            <a:off x="287337" y="1440000"/>
            <a:ext cx="8569326" cy="28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F93CC77-C555-9877-FA56-12F0F79F3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13877E8-6D74-1086-CCD5-86280D5B0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40" y="504000"/>
            <a:ext cx="6988950" cy="4426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Edit Master Title Format</a:t>
            </a:r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EE8BA17-1CDA-281A-E073-52913112B984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rcRect t="16401" b="16401"/>
          <a:stretch/>
        </p:blipFill>
        <p:spPr>
          <a:xfrm>
            <a:off x="7160331" y="84360"/>
            <a:ext cx="1887159" cy="44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1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906" r:id="rId2"/>
    <p:sldLayoutId id="2147483873" r:id="rId3"/>
    <p:sldLayoutId id="2147483878" r:id="rId4"/>
    <p:sldLayoutId id="2147483879" r:id="rId5"/>
    <p:sldLayoutId id="2147483880" r:id="rId6"/>
    <p:sldLayoutId id="2147483827" r:id="rId7"/>
    <p:sldLayoutId id="2147483826" r:id="rId8"/>
    <p:sldLayoutId id="2147483876" r:id="rId9"/>
    <p:sldLayoutId id="2147483882" r:id="rId10"/>
    <p:sldLayoutId id="2147483872" r:id="rId11"/>
    <p:sldLayoutId id="2147483874" r:id="rId12"/>
    <p:sldLayoutId id="2147483883" r:id="rId13"/>
    <p:sldLayoutId id="2147483875" r:id="rId14"/>
    <p:sldLayoutId id="2147483881" r:id="rId15"/>
    <p:sldLayoutId id="2147483892" r:id="rId16"/>
    <p:sldLayoutId id="2147483835" r:id="rId17"/>
    <p:sldLayoutId id="2147483884" r:id="rId18"/>
    <p:sldLayoutId id="2147483834" r:id="rId19"/>
    <p:sldLayoutId id="2147483885" r:id="rId20"/>
    <p:sldLayoutId id="2147483847" r:id="rId21"/>
    <p:sldLayoutId id="2147483902" r:id="rId22"/>
    <p:sldLayoutId id="2147483893" r:id="rId23"/>
    <p:sldLayoutId id="2147483864" r:id="rId24"/>
    <p:sldLayoutId id="2147483865" r:id="rId25"/>
    <p:sldLayoutId id="2147483849" r:id="rId26"/>
    <p:sldLayoutId id="2147483866" r:id="rId27"/>
    <p:sldLayoutId id="2147483889" r:id="rId28"/>
    <p:sldLayoutId id="2147483888" r:id="rId29"/>
    <p:sldLayoutId id="2147483887" r:id="rId30"/>
    <p:sldLayoutId id="2147483897" r:id="rId31"/>
    <p:sldLayoutId id="2147483895" r:id="rId32"/>
    <p:sldLayoutId id="2147483898" r:id="rId33"/>
    <p:sldLayoutId id="2147483896" r:id="rId34"/>
    <p:sldLayoutId id="2147483899" r:id="rId35"/>
    <p:sldLayoutId id="2147483854" r:id="rId36"/>
    <p:sldLayoutId id="2147483853" r:id="rId37"/>
    <p:sldLayoutId id="2147483858" r:id="rId38"/>
    <p:sldLayoutId id="2147483890" r:id="rId39"/>
    <p:sldLayoutId id="2147483859" r:id="rId40"/>
    <p:sldLayoutId id="2147483891" r:id="rId41"/>
    <p:sldLayoutId id="2147483894" r:id="rId42"/>
    <p:sldLayoutId id="2147483900" r:id="rId43"/>
    <p:sldLayoutId id="2147483901" r:id="rId44"/>
    <p:sldLayoutId id="2147483867" r:id="rId45"/>
    <p:sldLayoutId id="2147483903" r:id="rId46"/>
    <p:sldLayoutId id="2147483868" r:id="rId47"/>
    <p:sldLayoutId id="2147483904" r:id="rId48"/>
    <p:sldLayoutId id="2147483869" r:id="rId49"/>
    <p:sldLayoutId id="2147483905" r:id="rId50"/>
    <p:sldLayoutId id="2147483863" r:id="rId51"/>
    <p:sldLayoutId id="2147483886" r:id="rId52"/>
    <p:sldLayoutId id="2147483877" r:id="rId53"/>
  </p:sldLayoutIdLst>
  <p:hf hdr="0" ftr="0"/>
  <p:txStyles>
    <p:titleStyle>
      <a:lvl1pPr algn="l" defTabSz="685783" rtl="0" eaLnBrk="1" latinLnBrk="0" hangingPunct="1">
        <a:lnSpc>
          <a:spcPts val="2000"/>
        </a:lnSpc>
        <a:spcBef>
          <a:spcPct val="0"/>
        </a:spcBef>
        <a:buNone/>
        <a:defRPr sz="2000" b="1" i="0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4" indent="-179384" algn="l" defTabSz="685783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11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323991" indent="-143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9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7737" indent="-107384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7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1982" indent="-71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5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en-US" sz="800" kern="1200" baseline="0" dirty="0">
          <a:solidFill>
            <a:schemeClr val="tx2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3" pos="2880" userDrawn="1">
          <p15:clr>
            <a:srgbClr val="A4A3A4"/>
          </p15:clr>
        </p15:guide>
        <p15:guide id="34" pos="5760" userDrawn="1">
          <p15:clr>
            <a:srgbClr val="F26B43"/>
          </p15:clr>
        </p15:guide>
        <p15:guide id="35" pos="181" userDrawn="1">
          <p15:clr>
            <a:srgbClr val="F26B43"/>
          </p15:clr>
        </p15:guide>
        <p15:guide id="38" pos="1927" userDrawn="1">
          <p15:clr>
            <a:srgbClr val="F26B43"/>
          </p15:clr>
        </p15:guide>
        <p15:guide id="39" pos="1995" userDrawn="1">
          <p15:clr>
            <a:srgbClr val="F26B43"/>
          </p15:clr>
        </p15:guide>
        <p15:guide id="40" pos="2845" userDrawn="1">
          <p15:clr>
            <a:srgbClr val="F26B43"/>
          </p15:clr>
        </p15:guide>
        <p15:guide id="41" pos="2914" userDrawn="1">
          <p15:clr>
            <a:srgbClr val="F26B43"/>
          </p15:clr>
        </p15:guide>
        <p15:guide id="42" pos="3765" userDrawn="1">
          <p15:clr>
            <a:srgbClr val="F26B43"/>
          </p15:clr>
        </p15:guide>
        <p15:guide id="43" pos="3833" userDrawn="1">
          <p15:clr>
            <a:srgbClr val="F26B43"/>
          </p15:clr>
        </p15:guide>
        <p15:guide id="46" pos="5579" userDrawn="1">
          <p15:clr>
            <a:srgbClr val="F26B43"/>
          </p15:clr>
        </p15:guide>
        <p15:guide id="47" orient="horz" pos="1620" userDrawn="1">
          <p15:clr>
            <a:srgbClr val="A4A3A4"/>
          </p15:clr>
        </p15:guide>
        <p15:guide id="48" orient="horz" pos="758" userDrawn="1">
          <p15:clr>
            <a:srgbClr val="F26B43"/>
          </p15:clr>
        </p15:guide>
        <p15:guide id="50" orient="horz" pos="1257" userDrawn="1">
          <p15:clr>
            <a:srgbClr val="F26B43"/>
          </p15:clr>
        </p15:guide>
        <p15:guide id="52" orient="horz" pos="1824" userDrawn="1">
          <p15:clr>
            <a:srgbClr val="F26B43"/>
          </p15:clr>
        </p15:guide>
        <p15:guide id="54" orient="horz" pos="2368" userDrawn="1">
          <p15:clr>
            <a:srgbClr val="F26B43"/>
          </p15:clr>
        </p15:guide>
        <p15:guide id="55" orient="horz" pos="2935" userDrawn="1">
          <p15:clr>
            <a:srgbClr val="F26B43"/>
          </p15:clr>
        </p15:guide>
        <p15:guide id="56" orient="horz" pos="599" userDrawn="1">
          <p15:clr>
            <a:srgbClr val="5ACBF0"/>
          </p15:clr>
        </p15:guide>
        <p15:guide id="57" orient="horz" pos="143" userDrawn="1">
          <p15:clr>
            <a:srgbClr val="5ACBF0"/>
          </p15:clr>
        </p15:guide>
        <p15:guide id="58" orient="horz" pos="3094" userDrawn="1">
          <p15:clr>
            <a:srgbClr val="5ACBF0"/>
          </p15:clr>
        </p15:guide>
        <p15:guide id="59" pos="1458" userDrawn="1">
          <p15:clr>
            <a:srgbClr val="5ACBF0"/>
          </p15:clr>
        </p15:guide>
        <p15:guide id="60" pos="1524" userDrawn="1">
          <p15:clr>
            <a:srgbClr val="5ACBF0"/>
          </p15:clr>
        </p15:guide>
        <p15:guide id="61" pos="4218" userDrawn="1">
          <p15:clr>
            <a:srgbClr val="5ACBF0"/>
          </p15:clr>
        </p15:guide>
        <p15:guide id="62" pos="4286" userDrawn="1">
          <p15:clr>
            <a:srgbClr val="5ACBF0"/>
          </p15:clr>
        </p15:guide>
        <p15:guide id="63" pos="5262" userDrawn="1">
          <p15:clr>
            <a:srgbClr val="5ACBF0"/>
          </p15:clr>
        </p15:guide>
        <p15:guide id="64" pos="52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56"/>
            </p:custDataLst>
          </p:nvPr>
        </p:nvSpPr>
        <p:spPr>
          <a:xfrm>
            <a:off x="287337" y="4911725"/>
            <a:ext cx="1290638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7"/>
            </p:custDataLst>
          </p:nvPr>
        </p:nvSpPr>
        <p:spPr>
          <a:xfrm>
            <a:off x="8351838" y="4911725"/>
            <a:ext cx="504825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B60C4007-1C36-BD4C-B7E8-11061F6EFA1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E39B4BCD-51B9-4580-B1F3-0A98E9FEF5FD}"/>
              </a:ext>
            </a:extLst>
          </p:cNvPr>
          <p:cNvSpPr>
            <a:spLocks noGrp="1"/>
          </p:cNvSpPr>
          <p:nvPr>
            <p:ph type="body" idx="1"/>
            <p:custDataLst>
              <p:tags r:id="rId58"/>
            </p:custDataLst>
          </p:nvPr>
        </p:nvSpPr>
        <p:spPr>
          <a:xfrm>
            <a:off x="287337" y="1440000"/>
            <a:ext cx="8569326" cy="28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F93CC77-C555-9877-FA56-12F0F79F3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13877E8-6D74-1086-CCD5-86280D5B0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40" y="504000"/>
            <a:ext cx="6988950" cy="4426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Edit Master Title Format</a:t>
            </a:r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19ACCF-DE50-0182-3C90-5B792BECCAB2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rcRect t="19385" b="19385"/>
          <a:stretch/>
        </p:blipFill>
        <p:spPr>
          <a:xfrm>
            <a:off x="7412378" y="190752"/>
            <a:ext cx="1576647" cy="3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60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60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  <p:sldLayoutId id="2147483935" r:id="rId28"/>
    <p:sldLayoutId id="2147483936" r:id="rId29"/>
    <p:sldLayoutId id="2147483937" r:id="rId30"/>
    <p:sldLayoutId id="2147483938" r:id="rId31"/>
    <p:sldLayoutId id="2147483939" r:id="rId32"/>
    <p:sldLayoutId id="2147483940" r:id="rId33"/>
    <p:sldLayoutId id="2147483941" r:id="rId34"/>
    <p:sldLayoutId id="2147483942" r:id="rId35"/>
    <p:sldLayoutId id="2147483943" r:id="rId36"/>
    <p:sldLayoutId id="2147483944" r:id="rId37"/>
    <p:sldLayoutId id="2147483945" r:id="rId38"/>
    <p:sldLayoutId id="2147483946" r:id="rId39"/>
    <p:sldLayoutId id="2147483947" r:id="rId40"/>
    <p:sldLayoutId id="2147483948" r:id="rId41"/>
    <p:sldLayoutId id="2147483949" r:id="rId42"/>
    <p:sldLayoutId id="2147483950" r:id="rId43"/>
    <p:sldLayoutId id="2147483951" r:id="rId44"/>
    <p:sldLayoutId id="2147483952" r:id="rId45"/>
    <p:sldLayoutId id="2147483953" r:id="rId46"/>
    <p:sldLayoutId id="2147483954" r:id="rId47"/>
    <p:sldLayoutId id="2147483955" r:id="rId48"/>
    <p:sldLayoutId id="2147483956" r:id="rId49"/>
    <p:sldLayoutId id="2147483957" r:id="rId50"/>
    <p:sldLayoutId id="2147483958" r:id="rId51"/>
    <p:sldLayoutId id="2147483959" r:id="rId52"/>
    <p:sldLayoutId id="2147483909" r:id="rId53"/>
    <p:sldLayoutId id="2147483962" r:id="rId54"/>
  </p:sldLayoutIdLst>
  <p:hf hdr="0" ftr="0"/>
  <p:txStyles>
    <p:titleStyle>
      <a:lvl1pPr algn="l" defTabSz="685783" rtl="0" eaLnBrk="1" latinLnBrk="0" hangingPunct="1">
        <a:lnSpc>
          <a:spcPts val="2000"/>
        </a:lnSpc>
        <a:spcBef>
          <a:spcPct val="0"/>
        </a:spcBef>
        <a:buNone/>
        <a:defRPr sz="2000" b="1" i="0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4" indent="-179384" algn="l" defTabSz="685783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11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323991" indent="-143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9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7737" indent="-107384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7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1982" indent="-71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5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en-US" sz="800" kern="1200" baseline="0" dirty="0">
          <a:solidFill>
            <a:schemeClr val="tx2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3" pos="2880" userDrawn="1">
          <p15:clr>
            <a:srgbClr val="A4A3A4"/>
          </p15:clr>
        </p15:guide>
        <p15:guide id="34" pos="5760" userDrawn="1">
          <p15:clr>
            <a:srgbClr val="F26B43"/>
          </p15:clr>
        </p15:guide>
        <p15:guide id="35" pos="181" userDrawn="1">
          <p15:clr>
            <a:srgbClr val="F26B43"/>
          </p15:clr>
        </p15:guide>
        <p15:guide id="38" pos="1927" userDrawn="1">
          <p15:clr>
            <a:srgbClr val="F26B43"/>
          </p15:clr>
        </p15:guide>
        <p15:guide id="39" pos="1995" userDrawn="1">
          <p15:clr>
            <a:srgbClr val="F26B43"/>
          </p15:clr>
        </p15:guide>
        <p15:guide id="40" pos="2845" userDrawn="1">
          <p15:clr>
            <a:srgbClr val="F26B43"/>
          </p15:clr>
        </p15:guide>
        <p15:guide id="41" pos="2914" userDrawn="1">
          <p15:clr>
            <a:srgbClr val="F26B43"/>
          </p15:clr>
        </p15:guide>
        <p15:guide id="42" pos="3765" userDrawn="1">
          <p15:clr>
            <a:srgbClr val="F26B43"/>
          </p15:clr>
        </p15:guide>
        <p15:guide id="43" pos="3833" userDrawn="1">
          <p15:clr>
            <a:srgbClr val="F26B43"/>
          </p15:clr>
        </p15:guide>
        <p15:guide id="46" pos="5579" userDrawn="1">
          <p15:clr>
            <a:srgbClr val="F26B43"/>
          </p15:clr>
        </p15:guide>
        <p15:guide id="47" orient="horz" pos="1620" userDrawn="1">
          <p15:clr>
            <a:srgbClr val="A4A3A4"/>
          </p15:clr>
        </p15:guide>
        <p15:guide id="48" orient="horz" pos="758" userDrawn="1">
          <p15:clr>
            <a:srgbClr val="F26B43"/>
          </p15:clr>
        </p15:guide>
        <p15:guide id="50" orient="horz" pos="1257" userDrawn="1">
          <p15:clr>
            <a:srgbClr val="F26B43"/>
          </p15:clr>
        </p15:guide>
        <p15:guide id="52" orient="horz" pos="1824" userDrawn="1">
          <p15:clr>
            <a:srgbClr val="F26B43"/>
          </p15:clr>
        </p15:guide>
        <p15:guide id="54" orient="horz" pos="2368" userDrawn="1">
          <p15:clr>
            <a:srgbClr val="F26B43"/>
          </p15:clr>
        </p15:guide>
        <p15:guide id="55" orient="horz" pos="2935" userDrawn="1">
          <p15:clr>
            <a:srgbClr val="F26B43"/>
          </p15:clr>
        </p15:guide>
        <p15:guide id="56" orient="horz" pos="599" userDrawn="1">
          <p15:clr>
            <a:srgbClr val="5ACBF0"/>
          </p15:clr>
        </p15:guide>
        <p15:guide id="57" orient="horz" pos="143" userDrawn="1">
          <p15:clr>
            <a:srgbClr val="5ACBF0"/>
          </p15:clr>
        </p15:guide>
        <p15:guide id="58" orient="horz" pos="3094" userDrawn="1">
          <p15:clr>
            <a:srgbClr val="5ACBF0"/>
          </p15:clr>
        </p15:guide>
        <p15:guide id="59" pos="1458" userDrawn="1">
          <p15:clr>
            <a:srgbClr val="5ACBF0"/>
          </p15:clr>
        </p15:guide>
        <p15:guide id="60" pos="1524" userDrawn="1">
          <p15:clr>
            <a:srgbClr val="5ACBF0"/>
          </p15:clr>
        </p15:guide>
        <p15:guide id="61" pos="4218" userDrawn="1">
          <p15:clr>
            <a:srgbClr val="5ACBF0"/>
          </p15:clr>
        </p15:guide>
        <p15:guide id="62" pos="4286" userDrawn="1">
          <p15:clr>
            <a:srgbClr val="5ACBF0"/>
          </p15:clr>
        </p15:guide>
        <p15:guide id="63" pos="5262" userDrawn="1">
          <p15:clr>
            <a:srgbClr val="5ACBF0"/>
          </p15:clr>
        </p15:guide>
        <p15:guide id="64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32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Zástupný symbol obrázku 6" descr="Obsah obrázku strom, obloha, mrak, rostlina&#10;&#10;AI-generated content may be incorrect.">
            <a:extLst>
              <a:ext uri="{FF2B5EF4-FFF2-40B4-BE49-F238E27FC236}">
                <a16:creationId xmlns:a16="http://schemas.microsoft.com/office/drawing/2014/main" id="{C06054D2-BC43-09F7-84F7-67E5E8B9B33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9283" b="9283"/>
          <a:stretch>
            <a:fillRect/>
          </a:stretch>
        </p:blipFill>
        <p:spPr>
          <a:xfrm>
            <a:off x="-7376" y="0"/>
            <a:ext cx="9151374" cy="4658057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20CA72-0DB9-BEC9-ABB6-AA4653BC03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9ACC153-FD93-3AA5-8641-65E05D1DF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2" y="2465216"/>
            <a:ext cx="8029575" cy="505690"/>
          </a:xfrm>
        </p:spPr>
        <p:txBody>
          <a:bodyPr/>
          <a:lstStyle/>
          <a:p>
            <a:pPr algn="ctr"/>
            <a:r>
              <a:rPr lang="cs-CZ" dirty="0"/>
              <a:t>BUDUJEME INFRASTRUKTURU, KTERÁ OBCÍM SLUŠÍ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90510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10C61ADD-BD64-6115-3E7C-71BDA42D439E}"/>
              </a:ext>
            </a:extLst>
          </p:cNvPr>
          <p:cNvSpPr/>
          <p:nvPr/>
        </p:nvSpPr>
        <p:spPr>
          <a:xfrm>
            <a:off x="7262300" y="62257"/>
            <a:ext cx="1813685" cy="8086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F837925-B61F-47D1-831E-7523D5D98770}"/>
              </a:ext>
            </a:extLst>
          </p:cNvPr>
          <p:cNvCxnSpPr>
            <a:cxnSpLocks/>
          </p:cNvCxnSpPr>
          <p:nvPr/>
        </p:nvCxnSpPr>
        <p:spPr>
          <a:xfrm>
            <a:off x="3771900" y="-1"/>
            <a:ext cx="0" cy="5143501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4F22E0B4-55B7-4875-830F-8E4B029C80A2}"/>
              </a:ext>
            </a:extLst>
          </p:cNvPr>
          <p:cNvSpPr/>
          <p:nvPr/>
        </p:nvSpPr>
        <p:spPr>
          <a:xfrm>
            <a:off x="-1" y="808602"/>
            <a:ext cx="3900647" cy="384837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br>
              <a:rPr lang="en-US" sz="1013">
                <a:solidFill>
                  <a:schemeClr val="bg2"/>
                </a:solidFill>
              </a:rPr>
            </a:br>
            <a:endParaRPr lang="en-US" sz="1013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BEA01E-4C9F-4C9A-A05D-62D557B626C3}"/>
              </a:ext>
            </a:extLst>
          </p:cNvPr>
          <p:cNvSpPr txBox="1"/>
          <p:nvPr/>
        </p:nvSpPr>
        <p:spPr>
          <a:xfrm>
            <a:off x="0" y="1117550"/>
            <a:ext cx="390064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400" b="1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PELIFE</a:t>
            </a:r>
            <a:r>
              <a:rPr lang="en-US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cs-CZ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 předním výrobcem plastových potrubních systémů již 30 let. </a:t>
            </a:r>
          </a:p>
          <a:p>
            <a:endParaRPr lang="cs-CZ" sz="1400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řinášíme vodu, plyn a chytrá řešení </a:t>
            </a:r>
            <a:r>
              <a:rPr lang="cs-CZ" sz="1400" b="1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ěstům</a:t>
            </a:r>
            <a:r>
              <a:rPr lang="cs-CZ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 </a:t>
            </a:r>
            <a:r>
              <a:rPr lang="cs-CZ" sz="1400" b="1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mácnostem</a:t>
            </a:r>
            <a:r>
              <a:rPr lang="cs-CZ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endParaRPr lang="cs-CZ" sz="1400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d roku 2012 je PIPELIFE součástí skupiny </a:t>
            </a:r>
            <a:r>
              <a:rPr lang="cs-CZ" sz="1400" b="1" dirty="0" err="1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enerberger</a:t>
            </a:r>
            <a:r>
              <a:rPr lang="cs-CZ" sz="1400" b="1" dirty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cs-CZ" sz="1400" b="1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accent6"/>
                </a:solidFill>
                <a:latin typeface="Open Sans"/>
                <a:ea typeface="Open Sans"/>
                <a:cs typeface="Open Sans"/>
              </a:rPr>
              <a:t>Zastoupení v 27 zemích světa.</a:t>
            </a:r>
            <a:endParaRPr lang="cs-CZ" sz="1400" b="1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cs-CZ" sz="1400" b="1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400" b="1" dirty="0">
                <a:solidFill>
                  <a:schemeClr val="accent6"/>
                </a:solidFill>
                <a:latin typeface="Open Sans"/>
                <a:ea typeface="Open Sans"/>
                <a:cs typeface="Open Sans"/>
              </a:rPr>
              <a:t>Výrobní závod v Otrokovicích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b="1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400" dirty="0">
              <a:solidFill>
                <a:schemeClr val="accent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8">
            <a:extLst>
              <a:ext uri="{FF2B5EF4-FFF2-40B4-BE49-F238E27FC236}">
                <a16:creationId xmlns:a16="http://schemas.microsoft.com/office/drawing/2014/main" id="{E410B012-14FD-41F3-5A18-DD7734002290}"/>
              </a:ext>
            </a:extLst>
          </p:cNvPr>
          <p:cNvSpPr txBox="1"/>
          <p:nvPr/>
        </p:nvSpPr>
        <p:spPr>
          <a:xfrm>
            <a:off x="101127" y="208093"/>
            <a:ext cx="3771893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95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PELIFE CZECH </a:t>
            </a:r>
            <a:endParaRPr lang="en-US" sz="19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Ellipse 3">
            <a:extLst>
              <a:ext uri="{FF2B5EF4-FFF2-40B4-BE49-F238E27FC236}">
                <a16:creationId xmlns:a16="http://schemas.microsoft.com/office/drawing/2014/main" id="{81EC8F0B-705A-2DB7-6384-4296CEB2EB83}"/>
              </a:ext>
            </a:extLst>
          </p:cNvPr>
          <p:cNvSpPr/>
          <p:nvPr/>
        </p:nvSpPr>
        <p:spPr>
          <a:xfrm rot="926775">
            <a:off x="3644754" y="-199951"/>
            <a:ext cx="5543399" cy="5543399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1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761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626C8CC-A999-CB3E-E45B-CA41172655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DADE75-B4DC-8006-533D-D602691510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39EA8D0E-EDB4-D322-E648-56C4A333B7D5}"/>
              </a:ext>
            </a:extLst>
          </p:cNvPr>
          <p:cNvSpPr txBox="1">
            <a:spLocks/>
          </p:cNvSpPr>
          <p:nvPr/>
        </p:nvSpPr>
        <p:spPr>
          <a:xfrm>
            <a:off x="223674" y="1549529"/>
            <a:ext cx="2585555" cy="434805"/>
          </a:xfrm>
          <a:prstGeom prst="rect">
            <a:avLst/>
          </a:prstGeom>
        </p:spPr>
        <p:txBody>
          <a:bodyPr lIns="182880">
            <a:normAutofit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ŽENÝRSKÉ SÍTĚ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9116B9F6-84AE-7548-B2F0-C0011EEAE2CD}"/>
              </a:ext>
            </a:extLst>
          </p:cNvPr>
          <p:cNvSpPr txBox="1">
            <a:spLocks/>
          </p:cNvSpPr>
          <p:nvPr/>
        </p:nvSpPr>
        <p:spPr>
          <a:xfrm>
            <a:off x="6370610" y="1555107"/>
            <a:ext cx="2633821" cy="434805"/>
          </a:xfrm>
          <a:prstGeom prst="rect">
            <a:avLst/>
          </a:prstGeom>
        </p:spPr>
        <p:txBody>
          <a:bodyPr lIns="182880">
            <a:normAutofit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ART SOLUTIONS</a:t>
            </a:r>
            <a:endParaRPr lang="en-US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8E30F21F-69BE-C5CF-AC48-2409102F9B8A}"/>
              </a:ext>
            </a:extLst>
          </p:cNvPr>
          <p:cNvSpPr txBox="1">
            <a:spLocks/>
          </p:cNvSpPr>
          <p:nvPr/>
        </p:nvSpPr>
        <p:spPr>
          <a:xfrm>
            <a:off x="3297141" y="1549528"/>
            <a:ext cx="2633821" cy="434805"/>
          </a:xfrm>
          <a:prstGeom prst="rect">
            <a:avLst/>
          </a:prstGeom>
        </p:spPr>
        <p:txBody>
          <a:bodyPr lIns="182880">
            <a:normAutofit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HOUSE / SANITARY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A2136842-0D62-BA01-383C-35E84AAB1296}"/>
              </a:ext>
            </a:extLst>
          </p:cNvPr>
          <p:cNvSpPr txBox="1">
            <a:spLocks/>
          </p:cNvSpPr>
          <p:nvPr/>
        </p:nvSpPr>
        <p:spPr>
          <a:xfrm>
            <a:off x="223674" y="939493"/>
            <a:ext cx="2633821" cy="453841"/>
          </a:xfrm>
          <a:prstGeom prst="rect">
            <a:avLst/>
          </a:prstGeom>
          <a:solidFill>
            <a:schemeClr val="tx2"/>
          </a:solidFill>
        </p:spPr>
        <p:txBody>
          <a:bodyPr vert="horz" lIns="182880" tIns="0" rIns="7200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RASTRUKTURA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F0C266DF-5B88-BBC4-355C-45611B1CBA4F}"/>
              </a:ext>
            </a:extLst>
          </p:cNvPr>
          <p:cNvSpPr txBox="1">
            <a:spLocks/>
          </p:cNvSpPr>
          <p:nvPr/>
        </p:nvSpPr>
        <p:spPr>
          <a:xfrm>
            <a:off x="6370610" y="939492"/>
            <a:ext cx="2633821" cy="453841"/>
          </a:xfrm>
          <a:prstGeom prst="rect">
            <a:avLst/>
          </a:prstGeom>
          <a:solidFill>
            <a:schemeClr val="tx2"/>
          </a:solidFill>
        </p:spPr>
        <p:txBody>
          <a:bodyPr vert="horz" lIns="182880" tIns="0" rIns="7200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KOSYSTÉMY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C3EDE2CF-5C6A-197E-D462-C7CC559962BB}"/>
              </a:ext>
            </a:extLst>
          </p:cNvPr>
          <p:cNvSpPr/>
          <p:nvPr/>
        </p:nvSpPr>
        <p:spPr>
          <a:xfrm>
            <a:off x="223676" y="1967566"/>
            <a:ext cx="2585554" cy="2845169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D38AD115-F1E9-9708-F395-3DD7CC774C63}"/>
              </a:ext>
            </a:extLst>
          </p:cNvPr>
          <p:cNvSpPr/>
          <p:nvPr/>
        </p:nvSpPr>
        <p:spPr>
          <a:xfrm>
            <a:off x="3297141" y="1967565"/>
            <a:ext cx="2633821" cy="2845169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A32775D0-FE97-8336-5D4E-56FF2DE854EA}"/>
              </a:ext>
            </a:extLst>
          </p:cNvPr>
          <p:cNvSpPr/>
          <p:nvPr/>
        </p:nvSpPr>
        <p:spPr>
          <a:xfrm>
            <a:off x="6370610" y="1966071"/>
            <a:ext cx="2633821" cy="284517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CE250674-FDCE-2043-B946-F7CD02BB51C9}"/>
              </a:ext>
            </a:extLst>
          </p:cNvPr>
          <p:cNvSpPr txBox="1">
            <a:spLocks/>
          </p:cNvSpPr>
          <p:nvPr/>
        </p:nvSpPr>
        <p:spPr>
          <a:xfrm>
            <a:off x="3297142" y="939492"/>
            <a:ext cx="2633821" cy="453841"/>
          </a:xfrm>
          <a:prstGeom prst="rect">
            <a:avLst/>
          </a:prstGeom>
          <a:solidFill>
            <a:schemeClr val="tx2"/>
          </a:solidFill>
        </p:spPr>
        <p:txBody>
          <a:bodyPr vert="horz" lIns="182880" tIns="0" rIns="7200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DOVY (TZB)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9" name="Zástupný symbol obrázku 30">
            <a:extLst>
              <a:ext uri="{FF2B5EF4-FFF2-40B4-BE49-F238E27FC236}">
                <a16:creationId xmlns:a16="http://schemas.microsoft.com/office/drawing/2014/main" id="{FB914CCA-862F-F29A-BFBB-EF3ED2DFCA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154" r="2154"/>
          <a:stretch/>
        </p:blipFill>
        <p:spPr>
          <a:xfrm>
            <a:off x="287337" y="2039877"/>
            <a:ext cx="2435543" cy="1227239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20" name="Zástupný symbol obrázku 30">
            <a:extLst>
              <a:ext uri="{FF2B5EF4-FFF2-40B4-BE49-F238E27FC236}">
                <a16:creationId xmlns:a16="http://schemas.microsoft.com/office/drawing/2014/main" id="{91384827-D6A0-CCD4-73C2-9180F05181C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465" b="19465"/>
          <a:stretch/>
        </p:blipFill>
        <p:spPr>
          <a:xfrm>
            <a:off x="3362912" y="2032170"/>
            <a:ext cx="2501176" cy="1227239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21" name="Zástupný symbol obrázku 30" descr="Obsah obrázku venku, mrak, obloha, budova&#10;&#10;Popis byl vytvořen automaticky">
            <a:extLst>
              <a:ext uri="{FF2B5EF4-FFF2-40B4-BE49-F238E27FC236}">
                <a16:creationId xmlns:a16="http://schemas.microsoft.com/office/drawing/2014/main" id="{0F693CA4-F9BA-D034-F959-054F212C3D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440" t="15313" b="25238"/>
          <a:stretch/>
        </p:blipFill>
        <p:spPr>
          <a:xfrm>
            <a:off x="6418873" y="2018443"/>
            <a:ext cx="2501451" cy="1227239"/>
          </a:xfrm>
          <a:prstGeom prst="rect">
            <a:avLst/>
          </a:prstGeom>
        </p:spPr>
      </p:pic>
      <p:sp>
        <p:nvSpPr>
          <p:cNvPr id="22" name="Text Placeholder 34">
            <a:extLst>
              <a:ext uri="{FF2B5EF4-FFF2-40B4-BE49-F238E27FC236}">
                <a16:creationId xmlns:a16="http://schemas.microsoft.com/office/drawing/2014/main" id="{B6315B43-7F66-272E-C633-ABAECBB43ED9}"/>
              </a:ext>
            </a:extLst>
          </p:cNvPr>
          <p:cNvSpPr txBox="1">
            <a:spLocks/>
          </p:cNvSpPr>
          <p:nvPr/>
        </p:nvSpPr>
        <p:spPr>
          <a:xfrm>
            <a:off x="265300" y="3322659"/>
            <a:ext cx="2691259" cy="1521011"/>
          </a:xfrm>
          <a:prstGeom prst="rect">
            <a:avLst/>
          </a:prstGeom>
          <a:ln w="0">
            <a:noFill/>
          </a:ln>
        </p:spPr>
        <p:txBody>
          <a:bodyPr lIns="182880" tIns="182880" rIns="182880" bIns="182880">
            <a:normAutofit fontScale="25000" lnSpcReduction="20000"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lašková kanalizace</a:t>
            </a:r>
            <a:endParaRPr lang="en-GB" sz="4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ozvody pitné vody</a:t>
            </a:r>
            <a:endParaRPr lang="en-GB" sz="4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spodaření s dešťovou vodou</a:t>
            </a:r>
            <a:endParaRPr lang="en-GB" sz="4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ynovodní potrubí</a:t>
            </a:r>
            <a:endParaRPr lang="en-GB" sz="4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hrana kabelů</a:t>
            </a: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r>
              <a:rPr lang="cs-CZ" sz="4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avlažovací systémy</a:t>
            </a:r>
          </a:p>
          <a:p>
            <a:pPr marL="106362" indent="-285750" defTabSz="981334" eaLnBrk="0" hangingPunct="0">
              <a:spcBef>
                <a:spcPct val="30000"/>
              </a:spcBef>
              <a:buSzPct val="115000"/>
              <a:buFont typeface="Wingdings" panose="05000000000000000000" pitchFamily="2" charset="2"/>
              <a:buChar char="§"/>
            </a:pPr>
            <a:endParaRPr lang="en-GB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20653766-8E8A-77EC-9134-ABCA1BC03F24}"/>
              </a:ext>
            </a:extLst>
          </p:cNvPr>
          <p:cNvSpPr txBox="1">
            <a:spLocks/>
          </p:cNvSpPr>
          <p:nvPr/>
        </p:nvSpPr>
        <p:spPr>
          <a:xfrm>
            <a:off x="3362912" y="3307246"/>
            <a:ext cx="2501176" cy="1536424"/>
          </a:xfrm>
          <a:prstGeom prst="rect">
            <a:avLst/>
          </a:prstGeom>
          <a:ln w="0">
            <a:noFill/>
          </a:ln>
        </p:spPr>
        <p:txBody>
          <a:bodyPr lIns="182880" tIns="182880" rIns="182880" bIns="182880">
            <a:normAutofit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tná a teplá voda</a:t>
            </a:r>
          </a:p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dpady</a:t>
            </a:r>
          </a:p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šťová voda a odvodnění</a:t>
            </a:r>
          </a:p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ytápění a chlazení</a:t>
            </a:r>
            <a:endParaRPr lang="en-GB" sz="1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ředizolované potrubí</a:t>
            </a:r>
            <a:endParaRPr lang="en-GB" sz="1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C7865986-B69F-63A4-9A72-7A69CE469750}"/>
              </a:ext>
            </a:extLst>
          </p:cNvPr>
          <p:cNvSpPr txBox="1">
            <a:spLocks/>
          </p:cNvSpPr>
          <p:nvPr/>
        </p:nvSpPr>
        <p:spPr>
          <a:xfrm>
            <a:off x="6418873" y="3307246"/>
            <a:ext cx="2501451" cy="1374277"/>
          </a:xfrm>
          <a:prstGeom prst="rect">
            <a:avLst/>
          </a:prstGeom>
          <a:ln w="0">
            <a:noFill/>
          </a:ln>
        </p:spPr>
        <p:txBody>
          <a:bodyPr lIns="182880" tIns="182880" rIns="182880" bIns="182880">
            <a:normAutofit/>
          </a:bodyPr>
          <a:lstStyle>
            <a:lvl1pPr marL="179384" indent="-179384" algn="l" defTabSz="685783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1" indent="-143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9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7737" indent="-107384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7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1982" indent="-71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de-DE" sz="5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685783" rtl="0" eaLnBrk="1" latinLnBrk="0" hangingPunct="1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 lang="en-US" sz="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otermální potrubí</a:t>
            </a:r>
            <a:endParaRPr lang="en-GB" sz="1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indent="-179388" defTabSz="981334" eaLnBrk="0" hangingPunct="0">
              <a:spcBef>
                <a:spcPct val="30000"/>
              </a:spcBef>
              <a:buSzPct val="115000"/>
              <a:buFont typeface="Wingdings" pitchFamily="2" charset="2"/>
              <a:buChar char="§"/>
            </a:pPr>
            <a:r>
              <a:rPr lang="cs-CZ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IMI – správa vodní a energetické infrastruktury</a:t>
            </a:r>
          </a:p>
          <a:p>
            <a:pPr marL="0" indent="0" defTabSz="981334" eaLnBrk="0" hangingPunct="0">
              <a:spcBef>
                <a:spcPct val="30000"/>
              </a:spcBef>
              <a:buSzPct val="115000"/>
              <a:buNone/>
            </a:pPr>
            <a:endParaRPr lang="en-US" sz="1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tle 22">
            <a:extLst>
              <a:ext uri="{FF2B5EF4-FFF2-40B4-BE49-F238E27FC236}">
                <a16:creationId xmlns:a16="http://schemas.microsoft.com/office/drawing/2014/main" id="{28D1307B-0C66-FBBA-879F-685351BA3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50" y="330765"/>
            <a:ext cx="8727603" cy="765731"/>
          </a:xfrm>
        </p:spPr>
        <p:txBody>
          <a:bodyPr/>
          <a:lstStyle/>
          <a:p>
            <a:r>
              <a:rPr lang="cs-CZ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ŠE PRODUKTY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808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20CA72-0DB9-BEC9-ABB6-AA4653BC03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316C8A1E-1BF6-6090-2600-DA8353C102A4}"/>
              </a:ext>
            </a:extLst>
          </p:cNvPr>
          <p:cNvSpPr/>
          <p:nvPr/>
        </p:nvSpPr>
        <p:spPr>
          <a:xfrm>
            <a:off x="215902" y="1546985"/>
            <a:ext cx="2728452" cy="24617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7397D3D6-341B-E8DE-EDE2-1C22C805A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86697"/>
            <a:ext cx="9144000" cy="4010714"/>
          </a:xfrm>
          <a:prstGeom prst="rect">
            <a:avLst/>
          </a:prstGeom>
        </p:spPr>
      </p:pic>
      <p:sp>
        <p:nvSpPr>
          <p:cNvPr id="20" name="Ovál 19">
            <a:extLst>
              <a:ext uri="{FF2B5EF4-FFF2-40B4-BE49-F238E27FC236}">
                <a16:creationId xmlns:a16="http://schemas.microsoft.com/office/drawing/2014/main" id="{4072D7B1-5E64-D16A-BE97-033E7172F2E5}"/>
              </a:ext>
            </a:extLst>
          </p:cNvPr>
          <p:cNvSpPr/>
          <p:nvPr/>
        </p:nvSpPr>
        <p:spPr>
          <a:xfrm>
            <a:off x="1025013" y="1058259"/>
            <a:ext cx="2796457" cy="286481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51B883-D153-3C9D-5482-DFDC94B3BAD1}"/>
              </a:ext>
            </a:extLst>
          </p:cNvPr>
          <p:cNvSpPr txBox="1"/>
          <p:nvPr/>
        </p:nvSpPr>
        <p:spPr>
          <a:xfrm>
            <a:off x="1179871" y="1965414"/>
            <a:ext cx="2466256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cs-CZ" sz="2000" b="1" i="0" baseline="0" dirty="0">
                <a:solidFill>
                  <a:schemeClr val="bg1"/>
                </a:solidFill>
              </a:rPr>
              <a:t>SPOLEČNĚ NAJDEME IDEÁLNÍ ŘEŠENÍ PRO VAŠI OBEC</a:t>
            </a:r>
          </a:p>
        </p:txBody>
      </p:sp>
    </p:spTree>
    <p:extLst>
      <p:ext uri="{BB962C8B-B14F-4D97-AF65-F5344CB8AC3E}">
        <p14:creationId xmlns:p14="http://schemas.microsoft.com/office/powerpoint/2010/main" val="2072895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6675C15-FEEB-18AB-04EE-2B8DA654900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287337" y="4911725"/>
            <a:ext cx="1290638" cy="151041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4AABDCB-D764-480A-A27A-A78EF7FA0ED5}" type="datetime1">
              <a:rPr lang="en-US" noProof="0" smtClean="0"/>
              <a:pPr>
                <a:spcAft>
                  <a:spcPts val="600"/>
                </a:spcAft>
              </a:pPr>
              <a:t>9/16/2025</a:t>
            </a:fld>
            <a:endParaRPr lang="en-US" noProof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16B2F11-208A-7125-AC2D-1815CB227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351838" y="4911725"/>
            <a:ext cx="504825" cy="151041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B60C4007-1C36-BD4C-B7E8-11061F6EFA14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139BD5D-F5BE-DADA-C94B-EB0B1F75C1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216000"/>
            <a:ext cx="6988950" cy="18193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0C557D1A-26B7-DDB7-C965-D72934D75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503238"/>
            <a:ext cx="6988175" cy="442912"/>
          </a:xfrm>
        </p:spPr>
        <p:txBody>
          <a:bodyPr/>
          <a:lstStyle/>
          <a:p>
            <a:r>
              <a:rPr lang="cs-CZ" dirty="0">
                <a:latin typeface="Open Sans"/>
                <a:ea typeface="Open Sans"/>
                <a:cs typeface="Open Sans"/>
              </a:rPr>
              <a:t>VÁŠ</a:t>
            </a:r>
            <a:r>
              <a:rPr lang="en-US" dirty="0">
                <a:latin typeface="Open Sans"/>
                <a:ea typeface="Open Sans"/>
                <a:cs typeface="Open Sans"/>
              </a:rPr>
              <a:t> #PARTNER</a:t>
            </a:r>
            <a:br>
              <a:rPr lang="cs-CZ" dirty="0">
                <a:latin typeface="Open Sans"/>
                <a:ea typeface="Open Sans"/>
                <a:cs typeface="Open Sans"/>
              </a:rPr>
            </a:br>
            <a:br>
              <a:rPr lang="en-US" sz="2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dirty="0">
              <a:latin typeface="Open Sans"/>
              <a:ea typeface="Open Sans"/>
              <a:cs typeface="Open San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34522FA-D32D-C563-D4E3-EF9450B68F97}"/>
              </a:ext>
            </a:extLst>
          </p:cNvPr>
          <p:cNvSpPr txBox="1"/>
          <p:nvPr/>
        </p:nvSpPr>
        <p:spPr>
          <a:xfrm>
            <a:off x="232075" y="3160742"/>
            <a:ext cx="45720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b="1" i="0" cap="all" dirty="0">
                <a:solidFill>
                  <a:srgbClr val="729669"/>
                </a:solidFill>
                <a:effectLst/>
                <a:latin typeface="Open Sans" panose="020B0606030504020204" pitchFamily="34" charset="0"/>
              </a:rPr>
              <a:t>Projekční příprava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D41AD0-5CE4-290D-5B50-1B68158469C2}"/>
              </a:ext>
            </a:extLst>
          </p:cNvPr>
          <p:cNvSpPr txBox="1"/>
          <p:nvPr/>
        </p:nvSpPr>
        <p:spPr>
          <a:xfrm>
            <a:off x="232075" y="3460694"/>
            <a:ext cx="286881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100" b="0" i="0" dirty="0">
                <a:solidFill>
                  <a:srgbClr val="171819"/>
                </a:solidFill>
                <a:effectLst/>
                <a:latin typeface="Open Sans" panose="020B0606030504020204" pitchFamily="34" charset="0"/>
              </a:rPr>
              <a:t>Společně s vámi najdeme vhodné řešení, poradíme s přípravou projektu a zajistíme i výběr kvalitního projektanta nebo projekční kanceláře. </a:t>
            </a:r>
            <a:endParaRPr lang="cs-CZ" sz="1100" b="1" i="0" cap="all" dirty="0">
              <a:solidFill>
                <a:srgbClr val="003087"/>
              </a:solidFill>
              <a:effectLst/>
              <a:latin typeface="Open Sans" panose="020B060603050402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766B896D-5888-1B18-665F-FA209FD722D3}"/>
              </a:ext>
            </a:extLst>
          </p:cNvPr>
          <p:cNvSpPr txBox="1"/>
          <p:nvPr/>
        </p:nvSpPr>
        <p:spPr>
          <a:xfrm>
            <a:off x="3367566" y="3153702"/>
            <a:ext cx="45720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b="1" i="0" cap="all" dirty="0">
                <a:solidFill>
                  <a:srgbClr val="729669"/>
                </a:solidFill>
                <a:effectLst/>
                <a:latin typeface="Open Sans" panose="020B0606030504020204" pitchFamily="34" charset="0"/>
              </a:rPr>
              <a:t>Získání dotací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58758069-5E5C-1659-E599-5FB1BDEEDAAD}"/>
              </a:ext>
            </a:extLst>
          </p:cNvPr>
          <p:cNvSpPr txBox="1"/>
          <p:nvPr/>
        </p:nvSpPr>
        <p:spPr>
          <a:xfrm>
            <a:off x="3367566" y="3453784"/>
            <a:ext cx="274131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100" b="0" i="0" dirty="0">
                <a:solidFill>
                  <a:srgbClr val="171819"/>
                </a:solidFill>
                <a:effectLst/>
              </a:rPr>
              <a:t>Zajistit financování projektu bývá j</a:t>
            </a:r>
            <a:r>
              <a:rPr lang="cs-CZ" sz="1100" b="1" i="0" dirty="0">
                <a:solidFill>
                  <a:srgbClr val="171819"/>
                </a:solidFill>
                <a:effectLst/>
              </a:rPr>
              <a:t>ednou z nejnáročnějších částí </a:t>
            </a:r>
            <a:r>
              <a:rPr lang="cs-CZ" sz="1100" b="0" i="0" dirty="0">
                <a:solidFill>
                  <a:srgbClr val="171819"/>
                </a:solidFill>
                <a:effectLst/>
              </a:rPr>
              <a:t>celého procesu. Sledujeme proto za vás všechny aktuální dotační programy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875A8C6-FB68-B60B-8FB8-28E25D6C8098}"/>
              </a:ext>
            </a:extLst>
          </p:cNvPr>
          <p:cNvSpPr txBox="1"/>
          <p:nvPr/>
        </p:nvSpPr>
        <p:spPr>
          <a:xfrm>
            <a:off x="6318250" y="3144149"/>
            <a:ext cx="45720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b="1" i="0" cap="all" dirty="0">
                <a:solidFill>
                  <a:srgbClr val="729669"/>
                </a:solidFill>
                <a:effectLst/>
                <a:latin typeface="Open Sans" panose="020B0606030504020204" pitchFamily="34" charset="0"/>
              </a:rPr>
              <a:t>Realizační firma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236293B-686B-9085-8268-0128EA16866E}"/>
              </a:ext>
            </a:extLst>
          </p:cNvPr>
          <p:cNvSpPr txBox="1"/>
          <p:nvPr/>
        </p:nvSpPr>
        <p:spPr>
          <a:xfrm>
            <a:off x="6318250" y="3453784"/>
            <a:ext cx="2741311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00" b="0" i="0" dirty="0">
                <a:solidFill>
                  <a:srgbClr val="171819"/>
                </a:solidFill>
                <a:effectLst/>
              </a:rPr>
              <a:t>Každý úspěšný projekt je výsledkem odpovědné práce </a:t>
            </a:r>
            <a:r>
              <a:rPr lang="cs-CZ" sz="1100" b="1" i="0" dirty="0">
                <a:solidFill>
                  <a:srgbClr val="171819"/>
                </a:solidFill>
                <a:effectLst/>
              </a:rPr>
              <a:t>spolehlivých dodavatelů. </a:t>
            </a:r>
            <a:r>
              <a:rPr lang="cs-CZ" sz="1100" b="0" i="0" dirty="0">
                <a:solidFill>
                  <a:srgbClr val="171819"/>
                </a:solidFill>
                <a:effectLst/>
              </a:rPr>
              <a:t>Naši partneři jsou dlouhodobě prověření a patří mezi špičku ve svém oboru. </a:t>
            </a:r>
            <a:endParaRPr lang="cs-CZ" sz="1100" dirty="0"/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2C2C5B83-E521-9C62-E90B-9BDA57B1C6B8}"/>
              </a:ext>
            </a:extLst>
          </p:cNvPr>
          <p:cNvSpPr txBox="1"/>
          <p:nvPr/>
        </p:nvSpPr>
        <p:spPr>
          <a:xfrm>
            <a:off x="232074" y="795393"/>
            <a:ext cx="89799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00" b="0" i="0" dirty="0">
                <a:solidFill>
                  <a:srgbClr val="171819"/>
                </a:solidFill>
                <a:effectLst/>
                <a:latin typeface="Open Sans" panose="020B0606030504020204" pitchFamily="34" charset="0"/>
              </a:rPr>
              <a:t>Stojíte na začátku plánování a nevíte, kde přesně začít? Přemýšlíte o projektu, ale chybí vám potřebné informace nebo zkušenosti? </a:t>
            </a:r>
            <a:br>
              <a:rPr lang="cs-CZ" sz="1100" b="0" i="0" dirty="0">
                <a:solidFill>
                  <a:srgbClr val="171819"/>
                </a:solidFill>
                <a:effectLst/>
                <a:latin typeface="Open Sans" panose="020B0606030504020204" pitchFamily="34" charset="0"/>
              </a:rPr>
            </a:br>
            <a:r>
              <a:rPr lang="cs-CZ" sz="1100" b="1" i="0" dirty="0">
                <a:solidFill>
                  <a:srgbClr val="171819"/>
                </a:solidFill>
                <a:effectLst/>
                <a:latin typeface="Open Sans" panose="020B0606030504020204" pitchFamily="34" charset="0"/>
              </a:rPr>
              <a:t>Jsme tu od toho, abychom vám pomohli. </a:t>
            </a:r>
            <a:endParaRPr lang="cs-CZ" sz="1100" dirty="0"/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43DD8FD-5886-FA25-DA6D-AD3DA8B916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793" y="1518435"/>
            <a:ext cx="8194008" cy="1644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82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ůže jít o obrázek 3 lidé">
            <a:extLst>
              <a:ext uri="{FF2B5EF4-FFF2-40B4-BE49-F238E27FC236}">
                <a16:creationId xmlns:a16="http://schemas.microsoft.com/office/drawing/2014/main" id="{0CBDDBCA-96A2-7605-62A4-07B19A376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7666" y="1199033"/>
            <a:ext cx="6076334" cy="346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1" name="Date Placeholder 2">
            <a:extLst>
              <a:ext uri="{FF2B5EF4-FFF2-40B4-BE49-F238E27FC236}">
                <a16:creationId xmlns:a16="http://schemas.microsoft.com/office/drawing/2014/main" id="{3673BBB1-E861-BB94-FE35-816909059783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287337" y="4911725"/>
            <a:ext cx="1290638" cy="151041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84AABDCB-D764-480A-A27A-A78EF7FA0ED5}" type="datetime1">
              <a:rPr lang="en-US" smtClean="0"/>
              <a:pPr>
                <a:spcAft>
                  <a:spcPts val="600"/>
                </a:spcAft>
              </a:pPr>
              <a:t>9/16/2025</a:t>
            </a:fld>
            <a:endParaRPr lang="en-US"/>
          </a:p>
        </p:txBody>
      </p:sp>
      <p:sp>
        <p:nvSpPr>
          <p:cNvPr id="1042" name="Slide Number Placeholder 3">
            <a:extLst>
              <a:ext uri="{FF2B5EF4-FFF2-40B4-BE49-F238E27FC236}">
                <a16:creationId xmlns:a16="http://schemas.microsoft.com/office/drawing/2014/main" id="{9F991618-F8D5-17D0-C4B6-FCFB7FF67F2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8351838" y="4911725"/>
            <a:ext cx="504825" cy="151041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B60C4007-1C36-BD4C-B7E8-11061F6EFA14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A48B843-9DEA-F620-4652-910BE4A216A0}"/>
              </a:ext>
            </a:extLst>
          </p:cNvPr>
          <p:cNvSpPr txBox="1"/>
          <p:nvPr/>
        </p:nvSpPr>
        <p:spPr>
          <a:xfrm>
            <a:off x="287335" y="1439999"/>
            <a:ext cx="2484000" cy="298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79384" indent="-179384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</a:pPr>
            <a:r>
              <a:rPr lang="en-US" sz="1100" b="0" i="0" dirty="0" err="1">
                <a:effectLst/>
              </a:rPr>
              <a:t>Navrhli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jsme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ucelený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systém</a:t>
            </a:r>
            <a:r>
              <a:rPr lang="en-US" sz="1100" b="0" i="0" dirty="0">
                <a:effectLst/>
              </a:rPr>
              <a:t> pro </a:t>
            </a:r>
            <a:r>
              <a:rPr lang="en-US" sz="1100" b="0" i="0" dirty="0" err="1">
                <a:effectLst/>
              </a:rPr>
              <a:t>hospodaření</a:t>
            </a:r>
            <a:r>
              <a:rPr lang="en-US" sz="1100" b="0" i="0" dirty="0">
                <a:effectLst/>
              </a:rPr>
              <a:t> s </a:t>
            </a:r>
            <a:r>
              <a:rPr lang="en-US" sz="1100" b="0" i="0" dirty="0" err="1">
                <a:effectLst/>
              </a:rPr>
              <a:t>dešťovými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vodami</a:t>
            </a:r>
            <a:r>
              <a:rPr lang="en-US" sz="1100" b="0" i="0" dirty="0">
                <a:effectLst/>
              </a:rPr>
              <a:t> pro </a:t>
            </a:r>
            <a:r>
              <a:rPr lang="cs-CZ" sz="1100" dirty="0"/>
              <a:t>mateřskou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školku</a:t>
            </a:r>
            <a:r>
              <a:rPr lang="en-US" sz="1100" b="0" i="0" dirty="0">
                <a:effectLst/>
              </a:rPr>
              <a:t> v </a:t>
            </a:r>
            <a:r>
              <a:rPr lang="en-US" sz="1100" b="0" i="0" dirty="0" err="1">
                <a:effectLst/>
              </a:rPr>
              <a:t>blízkosti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Prahy</a:t>
            </a:r>
            <a:r>
              <a:rPr lang="en-US" sz="1100" b="0" i="0" dirty="0">
                <a:effectLst/>
              </a:rPr>
              <a:t>.</a:t>
            </a:r>
            <a:r>
              <a:rPr lang="cs-CZ" sz="1100" dirty="0"/>
              <a:t> </a:t>
            </a:r>
            <a:r>
              <a:rPr lang="en-US" sz="1100" b="0" i="0" dirty="0" err="1">
                <a:effectLst/>
              </a:rPr>
              <a:t>Systém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byl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navržen</a:t>
            </a:r>
            <a:r>
              <a:rPr lang="en-US" sz="1100" b="0" i="0" dirty="0">
                <a:effectLst/>
              </a:rPr>
              <a:t> s </a:t>
            </a:r>
            <a:r>
              <a:rPr lang="en-US" sz="1100" b="0" i="0" dirty="0" err="1">
                <a:effectLst/>
              </a:rPr>
              <a:t>dostatečnou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kapacitou</a:t>
            </a:r>
            <a:r>
              <a:rPr lang="en-US" sz="1100" b="0" i="0" dirty="0">
                <a:effectLst/>
              </a:rPr>
              <a:t> pro </a:t>
            </a:r>
            <a:r>
              <a:rPr lang="en-US" sz="1100" b="0" i="0" dirty="0" err="1">
                <a:effectLst/>
              </a:rPr>
              <a:t>sběr</a:t>
            </a:r>
            <a:r>
              <a:rPr lang="en-US" sz="1100" b="0" i="0" dirty="0">
                <a:effectLst/>
              </a:rPr>
              <a:t> a </a:t>
            </a:r>
            <a:r>
              <a:rPr lang="en-US" sz="1100" b="0" i="0" dirty="0" err="1">
                <a:effectLst/>
              </a:rPr>
              <a:t>odvod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srážkových</a:t>
            </a:r>
            <a:r>
              <a:rPr lang="en-US" sz="1100" b="0" i="0" dirty="0">
                <a:effectLst/>
              </a:rPr>
              <a:t> </a:t>
            </a:r>
            <a:r>
              <a:rPr lang="en-US" sz="1100" b="0" i="0" dirty="0" err="1">
                <a:effectLst/>
              </a:rPr>
              <a:t>vod</a:t>
            </a:r>
            <a:r>
              <a:rPr lang="en-US" sz="1100" b="0" i="0" dirty="0">
                <a:effectLst/>
              </a:rPr>
              <a:t> ze </a:t>
            </a:r>
            <a:r>
              <a:rPr lang="en-US" sz="1100" b="0" i="0" dirty="0" err="1">
                <a:effectLst/>
              </a:rPr>
              <a:t>střechy</a:t>
            </a:r>
            <a:r>
              <a:rPr lang="en-US" sz="1100" b="0" i="0" dirty="0">
                <a:effectLst/>
              </a:rPr>
              <a:t>. </a:t>
            </a:r>
            <a:endParaRPr lang="cs-CZ" sz="1100" b="0" i="0" dirty="0">
              <a:effectLst/>
            </a:endParaRPr>
          </a:p>
          <a:p>
            <a:pPr marL="179384" indent="-179384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</a:pPr>
            <a:r>
              <a:rPr lang="cs-CZ" sz="1100" dirty="0"/>
              <a:t>Srdcem systému je podzemní retenčně vsakovací objekt s filtrací vody na vstupu do objektu s regulací odtoku zachycených vod. </a:t>
            </a:r>
            <a:endParaRPr lang="cs-CZ" sz="1100" b="0" i="0" dirty="0">
              <a:effectLst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3037E2-E756-4781-83B8-44B7A84DB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504000"/>
            <a:ext cx="6995435" cy="442622"/>
          </a:xfrm>
        </p:spPr>
        <p:txBody>
          <a:bodyPr vert="horz" lIns="0" tIns="0" rIns="0" bIns="0" rtlCol="0" anchor="t" anchorCtr="0">
            <a:normAutofit fontScale="90000"/>
          </a:bodyPr>
          <a:lstStyle/>
          <a:p>
            <a:r>
              <a:rPr lang="en-US" sz="2000" b="1" i="0" kern="1200" cap="all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HYTRÉ ŘEŠENÍ HOSPODAŘENÍ S DEŠŤOVOU VODOU PRO MATEŘSKOU ŠKOLKU</a:t>
            </a:r>
            <a:br>
              <a:rPr lang="en-US" sz="2000" b="1" i="0" kern="1200" cap="all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AE5DB33-583C-744B-8EB2-A6FB6DC0F535}"/>
              </a:ext>
            </a:extLst>
          </p:cNvPr>
          <p:cNvSpPr txBox="1"/>
          <p:nvPr/>
        </p:nvSpPr>
        <p:spPr>
          <a:xfrm>
            <a:off x="287338" y="216000"/>
            <a:ext cx="6995436" cy="181930"/>
          </a:xfrm>
          <a:prstGeom prst="rect">
            <a:avLst/>
          </a:prstGeom>
        </p:spPr>
        <p:txBody>
          <a:bodyPr vert="horz" lIns="0" tIns="0" rIns="0" bIns="0" rtlCol="0" anchorCtr="0">
            <a:normAutofit fontScale="77500" lnSpcReduction="20000"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40000"/>
            </a:pPr>
            <a:r>
              <a:rPr lang="en-US" sz="1600" b="1" dirty="0"/>
              <a:t>NAŠE REFERENČNÍ STAVBY A PROJEKTY</a:t>
            </a:r>
            <a:endParaRPr lang="en-US" sz="1100" b="1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130AB36D-8496-678B-3731-B4E7C123E4A4}"/>
              </a:ext>
            </a:extLst>
          </p:cNvPr>
          <p:cNvSpPr/>
          <p:nvPr/>
        </p:nvSpPr>
        <p:spPr>
          <a:xfrm>
            <a:off x="6554449" y="2713703"/>
            <a:ext cx="2302214" cy="2071815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cs-CZ" b="0" i="0" dirty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C0E9D7FA-2E02-57FB-EAFA-7E5CA69C860D}"/>
              </a:ext>
            </a:extLst>
          </p:cNvPr>
          <p:cNvSpPr txBox="1"/>
          <p:nvPr/>
        </p:nvSpPr>
        <p:spPr>
          <a:xfrm>
            <a:off x="6488150" y="3098395"/>
            <a:ext cx="2434812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1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DOTAČNÍ VÝZVA</a:t>
            </a:r>
            <a:br>
              <a:rPr lang="cs-CZ" sz="11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</a:br>
            <a:endParaRPr lang="cs-CZ" sz="1100" b="1" i="0" dirty="0">
              <a:solidFill>
                <a:schemeClr val="bg1"/>
              </a:solidFill>
              <a:effectLst/>
              <a:latin typeface="Open sans" panose="020B0606030504020204" pitchFamily="34" charset="0"/>
            </a:endParaRPr>
          </a:p>
          <a:p>
            <a:pPr algn="ctr"/>
            <a:r>
              <a:rPr lang="cs-CZ" sz="11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Zachytávání srážkových a šedých vod a jejich další využití</a:t>
            </a:r>
          </a:p>
          <a:p>
            <a:pPr algn="ctr"/>
            <a:endParaRPr lang="cs-CZ" sz="1100" b="1" i="0" dirty="0">
              <a:solidFill>
                <a:schemeClr val="bg1"/>
              </a:solidFill>
              <a:effectLst/>
              <a:latin typeface="Open sans" panose="020B0606030504020204" pitchFamily="34" charset="0"/>
            </a:endParaRPr>
          </a:p>
          <a:p>
            <a:pPr algn="ctr"/>
            <a:r>
              <a:rPr lang="cs-CZ" sz="11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Podání žádosti</a:t>
            </a:r>
          </a:p>
          <a:p>
            <a:pPr algn="ctr"/>
            <a:r>
              <a:rPr lang="cs-CZ" sz="1100" b="0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16. 7. 2025 - 30. 4. 2026</a:t>
            </a:r>
          </a:p>
          <a:p>
            <a:pPr algn="ctr"/>
            <a:endParaRPr lang="cs-CZ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366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ek 9">
            <a:extLst>
              <a:ext uri="{FF2B5EF4-FFF2-40B4-BE49-F238E27FC236}">
                <a16:creationId xmlns:a16="http://schemas.microsoft.com/office/drawing/2014/main" id="{10E58BB5-7579-AF83-9F8E-CF6EAC49CB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24"/>
          <a:stretch/>
        </p:blipFill>
        <p:spPr>
          <a:xfrm>
            <a:off x="0" y="1186211"/>
            <a:ext cx="1946788" cy="1639350"/>
          </a:xfrm>
          <a:prstGeom prst="rect">
            <a:avLst/>
          </a:prstGeom>
        </p:spPr>
      </p:pic>
      <p:sp>
        <p:nvSpPr>
          <p:cNvPr id="1041" name="Date Placeholder 2">
            <a:extLst>
              <a:ext uri="{FF2B5EF4-FFF2-40B4-BE49-F238E27FC236}">
                <a16:creationId xmlns:a16="http://schemas.microsoft.com/office/drawing/2014/main" id="{3673BBB1-E861-BB94-FE35-816909059783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287337" y="4911725"/>
            <a:ext cx="1290638" cy="151041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84AABDCB-D764-480A-A27A-A78EF7FA0ED5}" type="datetime1">
              <a:rPr lang="en-US" smtClean="0"/>
              <a:pPr>
                <a:spcAft>
                  <a:spcPts val="600"/>
                </a:spcAft>
              </a:pPr>
              <a:t>9/16/2025</a:t>
            </a:fld>
            <a:endParaRPr lang="en-US"/>
          </a:p>
        </p:txBody>
      </p:sp>
      <p:sp>
        <p:nvSpPr>
          <p:cNvPr id="1042" name="Slide Number Placeholder 3">
            <a:extLst>
              <a:ext uri="{FF2B5EF4-FFF2-40B4-BE49-F238E27FC236}">
                <a16:creationId xmlns:a16="http://schemas.microsoft.com/office/drawing/2014/main" id="{9F991618-F8D5-17D0-C4B6-FCFB7FF67F2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8351838" y="4911725"/>
            <a:ext cx="504825" cy="151041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B60C4007-1C36-BD4C-B7E8-11061F6EFA14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3037E2-E756-4781-83B8-44B7A84DB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504000"/>
            <a:ext cx="6995435" cy="442622"/>
          </a:xfrm>
        </p:spPr>
        <p:txBody>
          <a:bodyPr vert="horz" lIns="0" tIns="0" rIns="0" bIns="0" rtlCol="0" anchor="t" anchorCtr="0">
            <a:normAutofit fontScale="90000"/>
          </a:bodyPr>
          <a:lstStyle/>
          <a:p>
            <a:r>
              <a:rPr lang="cs-CZ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ODERNÍ KANALIZACE PRO HORSKOU OBEC – PRO POHODLÍ A KVALITU ŽIVOTA MÍSTNÍCH OBYVATEL</a:t>
            </a:r>
            <a:br>
              <a:rPr lang="en-US" sz="2000" b="1" i="0" kern="1200" cap="all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AE5DB33-583C-744B-8EB2-A6FB6DC0F535}"/>
              </a:ext>
            </a:extLst>
          </p:cNvPr>
          <p:cNvSpPr txBox="1"/>
          <p:nvPr/>
        </p:nvSpPr>
        <p:spPr>
          <a:xfrm>
            <a:off x="287338" y="216000"/>
            <a:ext cx="6995436" cy="181930"/>
          </a:xfrm>
          <a:prstGeom prst="rect">
            <a:avLst/>
          </a:prstGeom>
        </p:spPr>
        <p:txBody>
          <a:bodyPr vert="horz" lIns="0" tIns="0" rIns="0" bIns="0" rtlCol="0" anchorCtr="0">
            <a:normAutofit fontScale="77500" lnSpcReduction="20000"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40000"/>
            </a:pPr>
            <a:r>
              <a:rPr lang="en-US" sz="1600" b="1" dirty="0"/>
              <a:t>NAŠE REFERENČNÍ STAVBY A PROJEKTY</a:t>
            </a:r>
            <a:endParaRPr lang="en-US" sz="1100" b="1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B15E3DB-A5CD-6975-4752-A919055C98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0" r="2410"/>
          <a:stretch>
            <a:fillRect/>
          </a:stretch>
        </p:blipFill>
        <p:spPr bwMode="auto">
          <a:xfrm>
            <a:off x="2920181" y="1192024"/>
            <a:ext cx="6223819" cy="344488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821FAE32-5786-095A-B92C-51D9774656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819747"/>
            <a:ext cx="4372897" cy="1817158"/>
          </a:xfrm>
          <a:prstGeom prst="rect">
            <a:avLst/>
          </a:prstGeom>
        </p:spPr>
      </p:pic>
      <p:sp>
        <p:nvSpPr>
          <p:cNvPr id="4" name="Ovál 3">
            <a:extLst>
              <a:ext uri="{FF2B5EF4-FFF2-40B4-BE49-F238E27FC236}">
                <a16:creationId xmlns:a16="http://schemas.microsoft.com/office/drawing/2014/main" id="{F5ABBB01-84F7-26B3-693B-A1832693F7C6}"/>
              </a:ext>
            </a:extLst>
          </p:cNvPr>
          <p:cNvSpPr/>
          <p:nvPr/>
        </p:nvSpPr>
        <p:spPr>
          <a:xfrm>
            <a:off x="1172696" y="1036568"/>
            <a:ext cx="2341827" cy="2186067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1CE0F94-B8BD-D148-BDD9-3C6CD0DD8355}"/>
              </a:ext>
            </a:extLst>
          </p:cNvPr>
          <p:cNvSpPr txBox="1"/>
          <p:nvPr/>
        </p:nvSpPr>
        <p:spPr>
          <a:xfrm>
            <a:off x="1350554" y="1488611"/>
            <a:ext cx="198611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200" b="0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 Aby nová kanalizace sloužila občanům co nejdéle a bez problémů, byl vybrán prémiový potrubní systém, který doplnily také plastové revizní šachty.</a:t>
            </a:r>
            <a:endParaRPr lang="cs-CZ" sz="1200" i="0" cap="all" dirty="0">
              <a:solidFill>
                <a:schemeClr val="bg1"/>
              </a:solidFill>
              <a:effectLst/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46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délník 35">
            <a:extLst>
              <a:ext uri="{FF2B5EF4-FFF2-40B4-BE49-F238E27FC236}">
                <a16:creationId xmlns:a16="http://schemas.microsoft.com/office/drawing/2014/main" id="{182DF97F-A8C9-B791-6C1B-FF3220C39845}"/>
              </a:ext>
            </a:extLst>
          </p:cNvPr>
          <p:cNvSpPr/>
          <p:nvPr/>
        </p:nvSpPr>
        <p:spPr>
          <a:xfrm>
            <a:off x="0" y="1179221"/>
            <a:ext cx="9144000" cy="348009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2" name="Obrázek 31">
            <a:extLst>
              <a:ext uri="{FF2B5EF4-FFF2-40B4-BE49-F238E27FC236}">
                <a16:creationId xmlns:a16="http://schemas.microsoft.com/office/drawing/2014/main" id="{C9010668-A08B-3866-D31B-2182AED14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4405" y="1180693"/>
            <a:ext cx="2846699" cy="3478619"/>
          </a:xfrm>
          <a:prstGeom prst="rect">
            <a:avLst/>
          </a:prstGeom>
        </p:spPr>
      </p:pic>
      <p:pic>
        <p:nvPicPr>
          <p:cNvPr id="30" name="Zástupný obsah 29" descr="Obsah obrázku venku, budova, Kompozitní materiál, flétna/dudy&#10;&#10;AI-generated content may be incorrect.">
            <a:extLst>
              <a:ext uri="{FF2B5EF4-FFF2-40B4-BE49-F238E27FC236}">
                <a16:creationId xmlns:a16="http://schemas.microsoft.com/office/drawing/2014/main" id="{74CF9D88-85A0-5E74-C388-A4D6CE588A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5400000">
            <a:off x="-301343" y="1480562"/>
            <a:ext cx="3478618" cy="2875937"/>
          </a:xfrm>
        </p:spPr>
      </p:pic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CFC626B-73FD-B4EB-D6AB-CBE16BAF55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9/16/2025</a:t>
            </a:fld>
            <a:endParaRPr lang="en-US" noProof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23A17056-A3CF-DE27-2FB5-A3CDE25477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6E0D8146-624A-9856-C1D2-152672CF0A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484187"/>
            <a:ext cx="6988950" cy="442622"/>
          </a:xfrm>
        </p:spPr>
        <p:txBody>
          <a:bodyPr/>
          <a:lstStyle/>
          <a:p>
            <a:r>
              <a:rPr lang="cs-CZ" dirty="0">
                <a:solidFill>
                  <a:schemeClr val="tx2"/>
                </a:solidFill>
              </a:rPr>
              <a:t>PŘEDIZOLOVANÍ POTRUBÍ PRO MĚSTO ZASAŽENÉ POVODNĚMI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D4AB8E0-155B-5ECF-9ACD-CFD3E87D04B6}"/>
              </a:ext>
            </a:extLst>
          </p:cNvPr>
          <p:cNvSpPr txBox="1"/>
          <p:nvPr/>
        </p:nvSpPr>
        <p:spPr>
          <a:xfrm>
            <a:off x="287336" y="877649"/>
            <a:ext cx="3997069" cy="3781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79384" indent="-179384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40000"/>
              <a:buFont typeface="Open Sans" panose="020B0606030504020204" pitchFamily="34" charset="0"/>
              <a:buChar char="›"/>
            </a:pPr>
            <a:endParaRPr lang="cs-CZ" sz="1100" dirty="0"/>
          </a:p>
        </p:txBody>
      </p:sp>
      <p:sp>
        <p:nvSpPr>
          <p:cNvPr id="28" name="Zástupný text 27">
            <a:extLst>
              <a:ext uri="{FF2B5EF4-FFF2-40B4-BE49-F238E27FC236}">
                <a16:creationId xmlns:a16="http://schemas.microsoft.com/office/drawing/2014/main" id="{4EC8A6F2-87D4-3760-B66F-AFBE3D039BD1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287338" y="215900"/>
            <a:ext cx="6988175" cy="182563"/>
          </a:xfrm>
          <a:prstGeom prst="rect">
            <a:avLst/>
          </a:prstGeom>
        </p:spPr>
        <p:txBody>
          <a:bodyPr vert="horz" lIns="0" tIns="0" rIns="0" bIns="0" rtlCol="0" anchorCtr="0">
            <a:normAutofit fontScale="77500" lnSpcReduction="20000"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40000"/>
            </a:pPr>
            <a:r>
              <a:rPr lang="en-US" sz="1600" b="1" dirty="0">
                <a:solidFill>
                  <a:schemeClr val="tx1"/>
                </a:solidFill>
              </a:rPr>
              <a:t>NAŠE REFERENČNÍ STAVBY A PROJEKTY</a:t>
            </a:r>
            <a:endParaRPr lang="en-US" sz="1100" b="1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Ovál 8">
            <a:extLst>
              <a:ext uri="{FF2B5EF4-FFF2-40B4-BE49-F238E27FC236}">
                <a16:creationId xmlns:a16="http://schemas.microsoft.com/office/drawing/2014/main" id="{0911F944-DCB0-58F1-E561-171BE80C9E95}"/>
              </a:ext>
            </a:extLst>
          </p:cNvPr>
          <p:cNvSpPr/>
          <p:nvPr/>
        </p:nvSpPr>
        <p:spPr>
          <a:xfrm>
            <a:off x="6269448" y="1707567"/>
            <a:ext cx="2747421" cy="2772697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1F148C27-49E8-F74F-76F4-ACF127FE1732}"/>
              </a:ext>
            </a:extLst>
          </p:cNvPr>
          <p:cNvSpPr txBox="1"/>
          <p:nvPr/>
        </p:nvSpPr>
        <p:spPr>
          <a:xfrm>
            <a:off x="6382320" y="2405241"/>
            <a:ext cx="2521676" cy="1571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40000"/>
            </a:pPr>
            <a:r>
              <a:rPr lang="cs-CZ" sz="1100" dirty="0">
                <a:solidFill>
                  <a:schemeClr val="bg1"/>
                </a:solidFill>
              </a:rPr>
              <a:t>“Společnost </a:t>
            </a:r>
            <a:r>
              <a:rPr lang="cs-CZ" sz="1100" dirty="0" err="1">
                <a:solidFill>
                  <a:schemeClr val="bg1"/>
                </a:solidFill>
              </a:rPr>
              <a:t>Pipelife</a:t>
            </a:r>
            <a:r>
              <a:rPr lang="cs-CZ" sz="1100" dirty="0">
                <a:solidFill>
                  <a:schemeClr val="bg1"/>
                </a:solidFill>
              </a:rPr>
              <a:t> nám dokázala rychle a bez dalších problémů navrhnout adekvátní řešení a dodat požadované potrubí velmi rychle. Byla to vydařená a velmi příjemná spolupráce,” uvedl Stanislav </a:t>
            </a:r>
            <a:r>
              <a:rPr lang="cs-CZ" sz="1100" dirty="0" err="1">
                <a:solidFill>
                  <a:schemeClr val="bg1"/>
                </a:solidFill>
              </a:rPr>
              <a:t>Berkovec</a:t>
            </a:r>
            <a:r>
              <a:rPr lang="cs-CZ" sz="1100" dirty="0">
                <a:solidFill>
                  <a:schemeClr val="bg1"/>
                </a:solidFill>
              </a:rPr>
              <a:t>, jednatel společnosti Služby obce Město Albrechtice.</a:t>
            </a:r>
          </a:p>
        </p:txBody>
      </p:sp>
      <p:pic>
        <p:nvPicPr>
          <p:cNvPr id="34" name="Obrázek 33">
            <a:extLst>
              <a:ext uri="{FF2B5EF4-FFF2-40B4-BE49-F238E27FC236}">
                <a16:creationId xmlns:a16="http://schemas.microsoft.com/office/drawing/2014/main" id="{0676E772-FC98-205C-AA64-3026F4A890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5935" y="1180694"/>
            <a:ext cx="1431484" cy="347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7889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20CA72-0DB9-BEC9-ABB6-AA4653BC03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17401C4C-C068-9071-CCD2-C6F6816BF8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238592B-F047-0EB4-FDEC-007FA6470E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18" t="14111" b="4488"/>
          <a:stretch/>
        </p:blipFill>
        <p:spPr>
          <a:xfrm>
            <a:off x="1" y="0"/>
            <a:ext cx="9143999" cy="4659311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79ACC153-FD93-3AA5-8641-65E05D1DF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3477" y="2076811"/>
            <a:ext cx="8029575" cy="505690"/>
          </a:xfrm>
        </p:spPr>
        <p:txBody>
          <a:bodyPr/>
          <a:lstStyle/>
          <a:p>
            <a:r>
              <a:rPr lang="cs-CZ" sz="3600" dirty="0"/>
              <a:t>DĚKUJEME ZA POZORNOST</a:t>
            </a:r>
            <a:endParaRPr lang="de-AT" sz="3600" dirty="0"/>
          </a:p>
        </p:txBody>
      </p:sp>
    </p:spTree>
    <p:extLst>
      <p:ext uri="{BB962C8B-B14F-4D97-AF65-F5344CB8AC3E}">
        <p14:creationId xmlns:p14="http://schemas.microsoft.com/office/powerpoint/2010/main" val="3406355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EE4P_LANGUAGE_ID" val="3079"/>
  <p:tag name="DES1LAYOUTCOUNT" val="49"/>
  <p:tag name="DES2LAYOUTCOUNT" val="49"/>
  <p:tag name="MASTCOUNT" val="1"/>
  <p:tag name="LINGO_COUNT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wienerberger">
  <a:themeElements>
    <a:clrScheme name="wienerberger group master">
      <a:dk1>
        <a:srgbClr val="3C3C3B"/>
      </a:dk1>
      <a:lt1>
        <a:srgbClr val="FFFFFF"/>
      </a:lt1>
      <a:dk2>
        <a:srgbClr val="B4AFA8"/>
      </a:dk2>
      <a:lt2>
        <a:srgbClr val="DCDBD0"/>
      </a:lt2>
      <a:accent1>
        <a:srgbClr val="B4AFA8"/>
      </a:accent1>
      <a:accent2>
        <a:srgbClr val="E04648"/>
      </a:accent2>
      <a:accent3>
        <a:srgbClr val="59834E"/>
      </a:accent3>
      <a:accent4>
        <a:srgbClr val="003087"/>
      </a:accent4>
      <a:accent5>
        <a:srgbClr val="41B6E6"/>
      </a:accent5>
      <a:accent6>
        <a:srgbClr val="26222D"/>
      </a:accent6>
      <a:hlink>
        <a:srgbClr val="24202C"/>
      </a:hlink>
      <a:folHlink>
        <a:srgbClr val="585461"/>
      </a:folHlink>
    </a:clrScheme>
    <a:fontScheme name="Wienerberger AG">
      <a:majorFont>
        <a:latin typeface="Open Sans Bold"/>
        <a:ea typeface=""/>
        <a:cs typeface=""/>
      </a:majorFont>
      <a:minorFont>
        <a:latin typeface="Open Sans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2225"/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spAutoFit/>
      </a:bodyPr>
      <a:lstStyle>
        <a:defPPr algn="l">
          <a:defRPr sz="1400" b="0" i="0" baseline="0" dirty="0" smtClean="0"/>
        </a:defPPr>
      </a:lstStyle>
    </a:txDef>
  </a:objectDefaults>
  <a:extraClrSchemeLst/>
  <a:custClrLst>
    <a:custClr name="Accent Red 100%">
      <a:srgbClr val="DF4647"/>
    </a:custClr>
    <a:custClr name="Accent Red 85% ">
      <a:srgbClr val="E4655E"/>
    </a:custClr>
    <a:custClr name="Accent Red 70%">
      <a:srgbClr val="E98577"/>
    </a:custClr>
    <a:custClr name="Accent Green 100%">
      <a:srgbClr val="59834E"/>
    </a:custClr>
    <a:custClr name="Accent Green 85%">
      <a:srgbClr val="729669"/>
    </a:custClr>
    <a:custClr name="Accent Green 70%">
      <a:srgbClr val="8BA883"/>
    </a:custClr>
    <a:custClr name="Accent Blue 100%">
      <a:srgbClr val="003087"/>
    </a:custClr>
    <a:custClr name="Accent Cyan 100%">
      <a:srgbClr val="39BAE8"/>
    </a:custClr>
    <a:custClr name="Accent Cyan 85%">
      <a:srgbClr val="5EC1EA"/>
    </a:custClr>
  </a:custClrLst>
  <a:extLst>
    <a:ext uri="{05A4C25C-085E-4340-85A3-A5531E510DB2}">
      <thm15:themeFamily xmlns:thm15="http://schemas.microsoft.com/office/thememl/2012/main" name="Präsentation1" id="{AC45718A-BA2F-430B-B1DE-2388EC579A49}" vid="{71F5BAEF-9B52-488B-990A-10EB50058247}"/>
    </a:ext>
  </a:extLst>
</a:theme>
</file>

<file path=ppt/theme/theme2.xml><?xml version="1.0" encoding="utf-8"?>
<a:theme xmlns:a="http://schemas.openxmlformats.org/drawingml/2006/main" name="Pipelife">
  <a:themeElements>
    <a:clrScheme name="wienerberger group master">
      <a:dk1>
        <a:srgbClr val="3C3C3B"/>
      </a:dk1>
      <a:lt1>
        <a:srgbClr val="FFFFFF"/>
      </a:lt1>
      <a:dk2>
        <a:srgbClr val="B4AFA8"/>
      </a:dk2>
      <a:lt2>
        <a:srgbClr val="DCDBD0"/>
      </a:lt2>
      <a:accent1>
        <a:srgbClr val="B4AFA8"/>
      </a:accent1>
      <a:accent2>
        <a:srgbClr val="E04648"/>
      </a:accent2>
      <a:accent3>
        <a:srgbClr val="59834E"/>
      </a:accent3>
      <a:accent4>
        <a:srgbClr val="003087"/>
      </a:accent4>
      <a:accent5>
        <a:srgbClr val="41B6E6"/>
      </a:accent5>
      <a:accent6>
        <a:srgbClr val="26222E"/>
      </a:accent6>
      <a:hlink>
        <a:srgbClr val="24202C"/>
      </a:hlink>
      <a:folHlink>
        <a:srgbClr val="585461"/>
      </a:folHlink>
    </a:clrScheme>
    <a:fontScheme name="Wienerberger AG">
      <a:majorFont>
        <a:latin typeface="Open Sans Bold"/>
        <a:ea typeface=""/>
        <a:cs typeface=""/>
      </a:majorFont>
      <a:minorFont>
        <a:latin typeface="Open Sans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2225"/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spAutoFit/>
      </a:bodyPr>
      <a:lstStyle>
        <a:defPPr algn="l">
          <a:defRPr sz="1400" b="0" i="0" baseline="0" dirty="0" smtClean="0"/>
        </a:defPPr>
      </a:lstStyle>
    </a:txDef>
  </a:objectDefaults>
  <a:extraClrSchemeLst/>
  <a:custClrLst>
    <a:custClr name="Accent Red 100%">
      <a:srgbClr val="DF4647"/>
    </a:custClr>
    <a:custClr name="Accent Red 85% ">
      <a:srgbClr val="E4655E"/>
    </a:custClr>
    <a:custClr name="Accent Red 70%">
      <a:srgbClr val="E98577"/>
    </a:custClr>
    <a:custClr name="Accent Green 100%">
      <a:srgbClr val="59834E"/>
    </a:custClr>
    <a:custClr name="Accent Green 85%">
      <a:srgbClr val="729669"/>
    </a:custClr>
    <a:custClr name="Accent Green 70%">
      <a:srgbClr val="8BA883"/>
    </a:custClr>
    <a:custClr name="Accent Blue 100%">
      <a:srgbClr val="003087"/>
    </a:custClr>
    <a:custClr name="Accent Cyan 100%">
      <a:srgbClr val="39BAE8"/>
    </a:custClr>
    <a:custClr name="Accent Cyan 85%">
      <a:srgbClr val="5EC1EA"/>
    </a:custClr>
  </a:custClrLst>
  <a:extLst>
    <a:ext uri="{05A4C25C-085E-4340-85A3-A5531E510DB2}">
      <thm15:themeFamily xmlns:thm15="http://schemas.microsoft.com/office/thememl/2012/main" name="Präsentation1" id="{AC45718A-BA2F-430B-B1DE-2388EC579A49}" vid="{5E4BFA82-138A-41D8-B79C-79A9790C5EFF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9449836376064989F673354EF3729A" ma:contentTypeVersion="12" ma:contentTypeDescription="Create a new document." ma:contentTypeScope="" ma:versionID="fc8ec32dc31e437c32b4de9d234b3759">
  <xsd:schema xmlns:xsd="http://www.w3.org/2001/XMLSchema" xmlns:xs="http://www.w3.org/2001/XMLSchema" xmlns:p="http://schemas.microsoft.com/office/2006/metadata/properties" xmlns:ns2="63ae6126-f4db-4c29-b1e9-72f2ed5d4af6" xmlns:ns3="9b0dc712-1bb6-4d68-bacf-5fbd802d2143" targetNamespace="http://schemas.microsoft.com/office/2006/metadata/properties" ma:root="true" ma:fieldsID="5215f80d3c5d675047de6c65fe9e7077" ns2:_="" ns3:_="">
    <xsd:import namespace="63ae6126-f4db-4c29-b1e9-72f2ed5d4af6"/>
    <xsd:import namespace="9b0dc712-1bb6-4d68-bacf-5fbd802d2143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e6126-f4db-4c29-b1e9-72f2ed5d4af6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c915ecfd-efe5-44af-bdd2-d1c8669c39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dc712-1bb6-4d68-bacf-5fbd802d214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8420240f-503b-495a-85ad-376a2ff35cac}" ma:internalName="TaxCatchAll" ma:showField="CatchAllData" ma:web="9b0dc712-1bb6-4d68-bacf-5fbd802d2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ae6126-f4db-4c29-b1e9-72f2ed5d4af6">
      <Terms xmlns="http://schemas.microsoft.com/office/infopath/2007/PartnerControls"/>
    </lcf76f155ced4ddcb4097134ff3c332f>
    <TaxCatchAll xmlns="9b0dc712-1bb6-4d68-bacf-5fbd802d214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BDE0F8-1144-4702-929A-B210962EC0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ae6126-f4db-4c29-b1e9-72f2ed5d4af6"/>
    <ds:schemaRef ds:uri="9b0dc712-1bb6-4d68-bacf-5fbd802d21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BFC611-1ABB-4092-8530-39D1E8ACE801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9b0dc712-1bb6-4d68-bacf-5fbd802d2143"/>
    <ds:schemaRef ds:uri="63ae6126-f4db-4c29-b1e9-72f2ed5d4af6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67EB73C-2F56-4410-A02D-D46DBB5F6A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Master wienerberger Pipelife</Template>
  <TotalTime>54833</TotalTime>
  <Words>417</Words>
  <Application>Microsoft Office PowerPoint</Application>
  <PresentationFormat>Předvádění na obrazovce (16:9)</PresentationFormat>
  <Paragraphs>67</Paragraphs>
  <Slides>9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8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9</vt:i4>
      </vt:variant>
    </vt:vector>
  </HeadingPairs>
  <TitlesOfParts>
    <vt:vector size="19" baseType="lpstr">
      <vt:lpstr>Arial</vt:lpstr>
      <vt:lpstr>Calibri</vt:lpstr>
      <vt:lpstr>Open Sans</vt:lpstr>
      <vt:lpstr>Open Sans</vt:lpstr>
      <vt:lpstr>Open Sans Bold</vt:lpstr>
      <vt:lpstr>Open Sans Regular</vt:lpstr>
      <vt:lpstr>Wingdings</vt:lpstr>
      <vt:lpstr>Zapf Dingbats</vt:lpstr>
      <vt:lpstr>wienerberger</vt:lpstr>
      <vt:lpstr>Pipelife</vt:lpstr>
      <vt:lpstr>BUDUJEME INFRASTRUKTURU, KTERÁ OBCÍM SLUŠÍ</vt:lpstr>
      <vt:lpstr>Prezentace aplikace PowerPoint</vt:lpstr>
      <vt:lpstr>NAŠE PRODUKTY</vt:lpstr>
      <vt:lpstr>Prezentace aplikace PowerPoint</vt:lpstr>
      <vt:lpstr>VÁŠ #PARTNER  </vt:lpstr>
      <vt:lpstr>CHYTRÉ ŘEŠENÍ HOSPODAŘENÍ S DEŠŤOVOU VODOU PRO MATEŘSKOU ŠKOLKU </vt:lpstr>
      <vt:lpstr>MODERNÍ KANALIZACE PRO HORSKOU OBEC – PRO POHODLÍ A KVALITU ŽIVOTA MÍSTNÍCH OBYVATEL </vt:lpstr>
      <vt:lpstr>PŘEDIZOLOVANÍ POTRUBÍ PRO MĚSTO ZASAŽENÉ POVODNĚMI</vt:lpstr>
      <vt:lpstr>DĚKUJEME ZA POZORNO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subject/>
  <dc:creator>Roman Liška</dc:creator>
  <cp:keywords/>
  <dc:description/>
  <cp:lastModifiedBy>Natalie Navratilova</cp:lastModifiedBy>
  <cp:revision>5</cp:revision>
  <cp:lastPrinted>2019-12-12T17:18:06Z</cp:lastPrinted>
  <dcterms:created xsi:type="dcterms:W3CDTF">2024-11-04T13:37:19Z</dcterms:created>
  <dcterms:modified xsi:type="dcterms:W3CDTF">2025-09-17T11:25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9449836376064989F673354EF3729A</vt:lpwstr>
  </property>
  <property fmtid="{D5CDD505-2E9C-101B-9397-08002B2CF9AE}" pid="3" name="MediaServiceImageTags">
    <vt:lpwstr/>
  </property>
</Properties>
</file>